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3.xml" ContentType="application/vnd.openxmlformats-officedocument.theme+xml"/>
  <Override PartName="/ppt/tags/tag141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4.xml" ContentType="application/vnd.openxmlformats-officedocument.them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5.xml" ContentType="application/vnd.openxmlformats-officedocument.theme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omments/modernComment_120_86DA3036.xml" ContentType="application/vnd.ms-powerpoint.comments+xml"/>
  <Override PartName="/ppt/notesSlides/notesSlide7.xml" ContentType="application/vnd.openxmlformats-officedocument.presentationml.notesSlide+xml"/>
  <Override PartName="/ppt/comments/modernComment_124_E097A586.xml" ContentType="application/vnd.ms-powerpoint.comment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omments/modernComment_125_774AEAAB.xml" ContentType="application/vnd.ms-powerpoint.comment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omments/modernComment_118_527D1172.xml" ContentType="application/vnd.ms-powerpoint.comments+xml"/>
  <Override PartName="/ppt/notesSlides/notesSlide15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666" r:id="rId5"/>
    <p:sldMasterId id="2147483712" r:id="rId6"/>
    <p:sldMasterId id="2147483772" r:id="rId7"/>
    <p:sldMasterId id="2147483887" r:id="rId8"/>
  </p:sldMasterIdLst>
  <p:notesMasterIdLst>
    <p:notesMasterId r:id="rId24"/>
  </p:notesMasterIdLst>
  <p:sldIdLst>
    <p:sldId id="276" r:id="rId9"/>
    <p:sldId id="279" r:id="rId10"/>
    <p:sldId id="289" r:id="rId11"/>
    <p:sldId id="284" r:id="rId12"/>
    <p:sldId id="294" r:id="rId13"/>
    <p:sldId id="288" r:id="rId14"/>
    <p:sldId id="292" r:id="rId15"/>
    <p:sldId id="287" r:id="rId16"/>
    <p:sldId id="293" r:id="rId17"/>
    <p:sldId id="286" r:id="rId18"/>
    <p:sldId id="290" r:id="rId19"/>
    <p:sldId id="285" r:id="rId20"/>
    <p:sldId id="291" r:id="rId21"/>
    <p:sldId id="280" r:id="rId22"/>
    <p:sldId id="281" r:id="rId23"/>
  </p:sldIdLst>
  <p:sldSz cx="6858000" cy="9601200"/>
  <p:notesSz cx="6858000" cy="9144000"/>
  <p:defaultTextStyle>
    <a:defPPr>
      <a:defRPr lang="en-US"/>
    </a:defPPr>
    <a:lvl1pPr algn="ctr" rtl="0" fontAlgn="base">
      <a:spcBef>
        <a:spcPct val="0"/>
      </a:spcBef>
      <a:spcAft>
        <a:spcPct val="0"/>
      </a:spcAft>
      <a:defRPr sz="1400" kern="1200">
        <a:solidFill>
          <a:srgbClr val="000000"/>
        </a:solidFill>
        <a:latin typeface="Arial" charset="0"/>
        <a:ea typeface="+mn-ea"/>
        <a:cs typeface="Arial" charset="0"/>
      </a:defRPr>
    </a:lvl1pPr>
    <a:lvl2pPr marL="457200" algn="ctr" rtl="0" fontAlgn="base">
      <a:spcBef>
        <a:spcPct val="0"/>
      </a:spcBef>
      <a:spcAft>
        <a:spcPct val="0"/>
      </a:spcAft>
      <a:defRPr sz="1400" kern="1200">
        <a:solidFill>
          <a:srgbClr val="000000"/>
        </a:solidFill>
        <a:latin typeface="Arial" charset="0"/>
        <a:ea typeface="+mn-ea"/>
        <a:cs typeface="Arial" charset="0"/>
      </a:defRPr>
    </a:lvl2pPr>
    <a:lvl3pPr marL="914400" algn="ctr" rtl="0" fontAlgn="base">
      <a:spcBef>
        <a:spcPct val="0"/>
      </a:spcBef>
      <a:spcAft>
        <a:spcPct val="0"/>
      </a:spcAft>
      <a:defRPr sz="1400" kern="1200">
        <a:solidFill>
          <a:srgbClr val="000000"/>
        </a:solidFill>
        <a:latin typeface="Arial" charset="0"/>
        <a:ea typeface="+mn-ea"/>
        <a:cs typeface="Arial" charset="0"/>
      </a:defRPr>
    </a:lvl3pPr>
    <a:lvl4pPr marL="1371600" algn="ctr" rtl="0" fontAlgn="base">
      <a:spcBef>
        <a:spcPct val="0"/>
      </a:spcBef>
      <a:spcAft>
        <a:spcPct val="0"/>
      </a:spcAft>
      <a:defRPr sz="1400" kern="1200">
        <a:solidFill>
          <a:srgbClr val="000000"/>
        </a:solidFill>
        <a:latin typeface="Arial" charset="0"/>
        <a:ea typeface="+mn-ea"/>
        <a:cs typeface="Arial" charset="0"/>
      </a:defRPr>
    </a:lvl4pPr>
    <a:lvl5pPr marL="1828800" algn="ctr" rtl="0" fontAlgn="base">
      <a:spcBef>
        <a:spcPct val="0"/>
      </a:spcBef>
      <a:spcAft>
        <a:spcPct val="0"/>
      </a:spcAft>
      <a:defRPr sz="1400" kern="1200">
        <a:solidFill>
          <a:srgbClr val="000000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400" kern="1200">
        <a:solidFill>
          <a:srgbClr val="000000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400" kern="1200">
        <a:solidFill>
          <a:srgbClr val="000000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400" kern="1200">
        <a:solidFill>
          <a:srgbClr val="000000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400" kern="1200">
        <a:solidFill>
          <a:srgbClr val="000000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8974903-5BEF-C8C1-D3B2-F1B14F046694}" name="Sharlene Hall" initials="SH" userId="S::shhall@helpathome.com::b77bfa25-6cc9-49e4-a9c6-58c918197fd5" providerId="AD"/>
  <p188:author id="{07D13415-F33A-D68E-2341-E328A7640CB7}" name="Hillary Darragh" initials="HD" userId="S::hdarragh@helpathome.com::fe5014e2-f27f-4ab4-bbbf-094d92728f78" providerId="AD"/>
  <p188:author id="{D8DBA635-D269-B0C0-E17B-6AB77E04E651}" name="Jake Ruetz" initials="JR" userId="S::jruetz@westmonroepartners.com::690b12f2-43fe-422b-9024-79096129b79f" providerId="AD"/>
  <p188:author id="{0F34D936-1A7C-45C6-FF18-064E21B7CCA2}" name="Katie Huxley" initials="KH" userId="S::khuxley@westmonroepartners.com::58a1f3a6-9ba2-4bb5-87a5-99212afdc393" providerId="AD"/>
  <p188:author id="{761E2459-77B3-9069-B9A9-C6827FEEE838}" name="Melissa Rankinen" initials="MR" userId="S::mrankinen@helpathome.com::d72a84aa-d12a-4f71-b0b8-b26e60f7f4d3" providerId="AD"/>
  <p188:author id="{CB0FF55D-0BA1-DBD4-2E50-A4A45C12D669}" name="Caroline Garand" initials="CG" userId="S::cgarand@helpathome.com::b9c42df1-9a38-4da7-bc0b-fe07c0e9062c" providerId="AD"/>
  <p188:author id="{A11BA567-C746-527C-FC6F-3857DE27077B}" name="Hannah Roark" initials="HR" userId="S::hroark@helpathome.com::6eba368d-0872-4692-a6c3-c66b89c3939f" providerId="AD"/>
  <p188:author id="{0CA5BA6D-3EFC-E081-E537-08A376FAEC77}" name="Mindy Au" initials="MA" userId="S::mau@helpathome.com::57dc90e5-d083-4302-ad9b-de24cf83e56d" providerId="AD"/>
  <p188:author id="{B8780686-23F8-BCA0-069D-EB77E59F1264}" name="Megan Lueders" initials="ML" userId="S::mlueders@helpathome.com::59b88f6d-325d-4648-b468-2e48bc7cb7da" providerId="AD"/>
  <p188:author id="{99916198-4A28-645D-7A0C-C0AD4D9C4263}" name="TYLER QUILLIN" initials="TQ" userId="S::tquillin@helpathome.com::4ba4016d-4640-4905-bc37-b844202ece54" providerId="AD"/>
  <p188:author id="{7C9BDB9F-B366-9036-8118-4276838C409B}" name="Kelsey Braak" initials="KB" userId="S::kbraak@westmonroepartners.com::2426fae8-cac4-4aa6-932e-0402376a194b" providerId="AD"/>
  <p188:author id="{E03E5FA9-4167-9DBB-267C-3992B050C8A9}" name="Coumba Kebe" initials="CK" userId="S::ckebe@helpathome.com::99ee8039-7985-4af1-b821-08c6486428c5" providerId="AD"/>
  <p188:author id="{021B9DAC-AB89-88A2-8A36-ADAEC7D5B0C7}" name="Lauren Keller" initials="LK" userId="S::lkeller@helpathome.com::4515ddbe-d17d-4b48-bafb-1c4e03778b15" providerId="AD"/>
  <p188:author id="{F2DD79B9-D109-8307-BE0A-5DFE5DBCB04E}" name="Christian Kerr" initials="CK" userId="S::ckerr@helpathome.com::4ffa99e1-ccad-4f45-bbda-b4c066d42526" providerId="AD"/>
  <p188:author id="{B65E57CB-1332-23FD-B6C4-15F336514AE4}" name="Jake Ruetz" initials="JR" userId="S::jruetz_westmonroe.com#ext#@cjinhelpathome324.onmicrosoft.com::326c548b-22e0-43af-adaf-868ef497a1c4" providerId="AD"/>
  <p188:author id="{3ADE0ED9-A709-D466-7A24-DDEBA36DFFB3}" name="Katherynne Dowman" initials="KD" userId="S::kdowman@helpathome.com::a3eade8a-32da-4a72-9feb-8e2c81114ae7" providerId="AD"/>
  <p188:author id="{27C539EB-FA03-67DF-8206-FBBDD5330B87}" name="Sharlene Hall" initials="SH" userId="Sharlene Hall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EDED"/>
    <a:srgbClr val="EEE9E4"/>
    <a:srgbClr val="F0F3F6"/>
    <a:srgbClr val="BCCCB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5859D92-7AB9-4C5B-800E-8DBCEF3D1DC8}" v="55" dt="2025-02-07T17:51:10.285"/>
    <p1510:client id="{3354A5B3-13BB-4E66-8A1C-C4026CD020DC}" v="73" dt="2025-02-06T22:05:14.81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42" d="100"/>
          <a:sy n="42" d="100"/>
        </p:scale>
        <p:origin x="2280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tableStyles" Target="tableStyle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theme" Target="theme/theme1.xml"/><Relationship Id="rId30" Type="http://schemas.microsoft.com/office/2018/10/relationships/authors" Target="authors.xml"/></Relationships>
</file>

<file path=ppt/comments/modernComment_118_527D1172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774F2026-7B84-4ADF-86C9-76072DEC806D}" authorId="{99916198-4A28-645D-7A0C-C0AD4D9C4263}" created="2025-01-03T17:11:41.061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383928178" sldId="280"/>
      <ac:grpSpMk id="15" creationId="{DA452558-951C-5150-3C66-C086C3CDE8C7}"/>
    </ac:deMkLst>
    <p188:replyLst>
      <p188:reply id="{EFABCBF3-E2C4-4828-A8E8-112F6263EA2D}" authorId="{99916198-4A28-645D-7A0C-C0AD4D9C4263}" created="2025-01-03T21:39:26.022">
        <p188:txBody>
          <a:bodyPr/>
          <a:lstStyle/>
          <a:p>
            <a:r>
              <a:rPr lang="en-US"/>
              <a:t>Completed</a:t>
            </a:r>
          </a:p>
        </p188:txBody>
      </p188:reply>
    </p188:replyLst>
    <p188:txBody>
      <a:bodyPr/>
      <a:lstStyle/>
      <a:p>
        <a:r>
          <a:rPr lang="en-US"/>
          <a:t>Need updated screenshot</a:t>
        </a:r>
      </a:p>
    </p188:txBody>
  </p188:cm>
</p188:cmLst>
</file>

<file path=ppt/comments/modernComment_120_86DA3036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A7EF290-5710-4D46-882D-B8D9AE5B73AF}" authorId="{99916198-4A28-645D-7A0C-C0AD4D9C4263}" created="2025-01-03T17:12:57.553">
    <pc:sldMkLst xmlns:pc="http://schemas.microsoft.com/office/powerpoint/2013/main/command">
      <pc:docMk/>
      <pc:sldMk cId="2262446134" sldId="288"/>
    </pc:sldMkLst>
    <p188:replyLst>
      <p188:reply id="{7F7676A6-DFFE-4729-8893-1BD98817DC8A}" authorId="{99916198-4A28-645D-7A0C-C0AD4D9C4263}" created="2025-01-03T22:21:05.716">
        <p188:txBody>
          <a:bodyPr/>
          <a:lstStyle/>
          <a:p>
            <a:r>
              <a:rPr lang="en-US"/>
              <a:t>done</a:t>
            </a:r>
          </a:p>
        </p188:txBody>
      </p188:reply>
    </p188:replyLst>
    <p188:txBody>
      <a:bodyPr/>
      <a:lstStyle/>
      <a:p>
        <a:r>
          <a:rPr lang="en-US"/>
          <a:t>Need updated phone template screenshots</a:t>
        </a:r>
      </a:p>
    </p188:txBody>
  </p188:cm>
  <p188:cm id="{56BBC3B0-4B05-42E1-8DE6-139BDDE3A1A8}" authorId="{99916198-4A28-645D-7A0C-C0AD4D9C4263}" created="2025-01-03T17:13:25.617">
    <pc:sldMkLst xmlns:pc="http://schemas.microsoft.com/office/powerpoint/2013/main/command">
      <pc:docMk/>
      <pc:sldMk cId="2262446134" sldId="288"/>
    </pc:sldMkLst>
    <p188:replyLst>
      <p188:reply id="{BB0242C3-57B8-4039-858A-7C0A6EF220E0}" authorId="{99916198-4A28-645D-7A0C-C0AD4D9C4263}" created="2025-01-03T22:21:09.738">
        <p188:txBody>
          <a:bodyPr/>
          <a:lstStyle/>
          <a:p>
            <a:r>
              <a:rPr lang="en-US"/>
              <a:t>done</a:t>
            </a:r>
          </a:p>
        </p188:txBody>
      </p188:reply>
    </p188:replyLst>
    <p188:txBody>
      <a:bodyPr/>
      <a:lstStyle/>
      <a:p>
        <a:r>
          <a:rPr lang="en-US"/>
          <a:t>Update 2nd pic only, use explanation about where personal and shift preferences are. </a:t>
        </a:r>
      </a:p>
    </p188:txBody>
  </p188:cm>
</p188:cmLst>
</file>

<file path=ppt/comments/modernComment_124_E097A586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9B716030-DA65-4694-BF43-0C0915155E29}" authorId="{99916198-4A28-645D-7A0C-C0AD4D9C4263}" created="2025-01-03T17:12:37.837">
    <pc:sldMkLst xmlns:pc="http://schemas.microsoft.com/office/powerpoint/2013/main/command">
      <pc:docMk/>
      <pc:sldMk cId="3768034694" sldId="292"/>
    </pc:sldMkLst>
    <p188:txBody>
      <a:bodyPr/>
      <a:lstStyle/>
      <a:p>
        <a:r>
          <a:rPr lang="en-US"/>
          <a:t>Need phone template screenshots</a:t>
        </a:r>
      </a:p>
    </p188:txBody>
  </p188:cm>
</p188:cmLst>
</file>

<file path=ppt/comments/modernComment_125_774AEAAB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C9344564-ACE9-4589-B2FB-65B1B17F5E3C}" authorId="{99916198-4A28-645D-7A0C-C0AD4D9C4263}" created="2025-01-03T17:12:18.655">
    <pc:sldMkLst xmlns:pc="http://schemas.microsoft.com/office/powerpoint/2013/main/command">
      <pc:docMk/>
      <pc:sldMk cId="2001398443" sldId="293"/>
    </pc:sldMkLst>
    <p188:txBody>
      <a:bodyPr/>
      <a:lstStyle/>
      <a:p>
        <a:r>
          <a:rPr lang="en-US"/>
          <a:t>Need phone template screenshots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076BF4-6FCE-411F-85ED-B93985CEF5F8}" type="datetimeFigureOut">
              <a:rPr lang="en-US" smtClean="0"/>
              <a:t>5/1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327275" y="1143000"/>
            <a:ext cx="220345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8CC4AE-7DE5-44D8-B6C4-7B5DC697B4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53653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919167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rovide branch, shift, da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388385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rovide branch, shift, da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443906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94210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58656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430867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40154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58335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499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36791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D5BC5E-08A4-E608-DC0D-0808E7E76C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184F72F-8F8B-1D92-72A4-8D1F1C35957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10A81BD-B137-3C4A-9F1B-E98E3F1CAD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225E6D-3E47-B904-17E9-8F0A6E428BC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75931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dd screenshot of print, download, </a:t>
            </a:r>
            <a:r>
              <a:rPr lang="en-US" err="1"/>
              <a:t>etc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01331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DE07BD-CEA6-FDFD-27B9-FA9A6D0711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ED12CB8-14A5-7185-7C2D-4356F5E5DA8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F9225AB-66A3-BF64-AA0B-E427FED03D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dd screenshot of print, download, </a:t>
            </a:r>
            <a:r>
              <a:rPr lang="en-US" err="1"/>
              <a:t>etc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60CCDF-B305-CBF0-2402-8026748E555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17144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Fix money- $25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351206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1D1E72-D840-84E2-DF70-FC4FD91B9D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F63FBE5-49EA-89FE-B0EA-CE848E91EE1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A790168-C528-A52A-A922-0A0A2334F10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Fix money- $250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405D407-605C-CE9D-FFD2-7FB2BE16342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67057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4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tags" Target="../tags/tag239.xml"/><Relationship Id="rId2" Type="http://schemas.openxmlformats.org/officeDocument/2006/relationships/tags" Target="../tags/tag238.xml"/><Relationship Id="rId1" Type="http://schemas.openxmlformats.org/officeDocument/2006/relationships/tags" Target="../tags/tag237.xml"/><Relationship Id="rId5" Type="http://schemas.openxmlformats.org/officeDocument/2006/relationships/image" Target="../media/image22.png"/><Relationship Id="rId4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tags" Target="../tags/tag242.xml"/><Relationship Id="rId2" Type="http://schemas.openxmlformats.org/officeDocument/2006/relationships/tags" Target="../tags/tag241.xml"/><Relationship Id="rId1" Type="http://schemas.openxmlformats.org/officeDocument/2006/relationships/tags" Target="../tags/tag240.xml"/><Relationship Id="rId5" Type="http://schemas.openxmlformats.org/officeDocument/2006/relationships/image" Target="../media/image15.png"/><Relationship Id="rId4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tags" Target="../tags/tag245.xml"/><Relationship Id="rId7" Type="http://schemas.openxmlformats.org/officeDocument/2006/relationships/image" Target="../media/image18.png"/><Relationship Id="rId2" Type="http://schemas.openxmlformats.org/officeDocument/2006/relationships/tags" Target="../tags/tag244.xml"/><Relationship Id="rId1" Type="http://schemas.openxmlformats.org/officeDocument/2006/relationships/tags" Target="../tags/tag243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tags" Target="../tags/tag248.xml"/><Relationship Id="rId2" Type="http://schemas.openxmlformats.org/officeDocument/2006/relationships/tags" Target="../tags/tag247.xml"/><Relationship Id="rId1" Type="http://schemas.openxmlformats.org/officeDocument/2006/relationships/tags" Target="../tags/tag246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tags" Target="../tags/tag251.xml"/><Relationship Id="rId2" Type="http://schemas.openxmlformats.org/officeDocument/2006/relationships/tags" Target="../tags/tag250.xml"/><Relationship Id="rId1" Type="http://schemas.openxmlformats.org/officeDocument/2006/relationships/tags" Target="../tags/tag249.xml"/><Relationship Id="rId5" Type="http://schemas.openxmlformats.org/officeDocument/2006/relationships/image" Target="../media/image21.png"/><Relationship Id="rId4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tags" Target="../tags/tag254.xml"/><Relationship Id="rId2" Type="http://schemas.openxmlformats.org/officeDocument/2006/relationships/tags" Target="../tags/tag253.xml"/><Relationship Id="rId1" Type="http://schemas.openxmlformats.org/officeDocument/2006/relationships/tags" Target="../tags/tag252.xml"/><Relationship Id="rId5" Type="http://schemas.openxmlformats.org/officeDocument/2006/relationships/image" Target="../media/image22.png"/><Relationship Id="rId4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tags" Target="../tags/tag257.xml"/><Relationship Id="rId2" Type="http://schemas.openxmlformats.org/officeDocument/2006/relationships/tags" Target="../tags/tag256.xml"/><Relationship Id="rId1" Type="http://schemas.openxmlformats.org/officeDocument/2006/relationships/tags" Target="../tags/tag255.xml"/><Relationship Id="rId5" Type="http://schemas.openxmlformats.org/officeDocument/2006/relationships/image" Target="../media/image15.png"/><Relationship Id="rId4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tags" Target="../tags/tag260.xml"/><Relationship Id="rId7" Type="http://schemas.openxmlformats.org/officeDocument/2006/relationships/image" Target="../media/image18.png"/><Relationship Id="rId2" Type="http://schemas.openxmlformats.org/officeDocument/2006/relationships/tags" Target="../tags/tag259.xml"/><Relationship Id="rId1" Type="http://schemas.openxmlformats.org/officeDocument/2006/relationships/tags" Target="../tags/tag258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tags" Target="../tags/tag263.xml"/><Relationship Id="rId2" Type="http://schemas.openxmlformats.org/officeDocument/2006/relationships/tags" Target="../tags/tag262.xml"/><Relationship Id="rId1" Type="http://schemas.openxmlformats.org/officeDocument/2006/relationships/tags" Target="../tags/tag261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tags" Target="../tags/tag266.xml"/><Relationship Id="rId2" Type="http://schemas.openxmlformats.org/officeDocument/2006/relationships/tags" Target="../tags/tag265.xml"/><Relationship Id="rId1" Type="http://schemas.openxmlformats.org/officeDocument/2006/relationships/tags" Target="../tags/tag264.xml"/><Relationship Id="rId5" Type="http://schemas.openxmlformats.org/officeDocument/2006/relationships/image" Target="../media/image21.png"/><Relationship Id="rId4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tags" Target="../tags/tag269.xml"/><Relationship Id="rId2" Type="http://schemas.openxmlformats.org/officeDocument/2006/relationships/tags" Target="../tags/tag268.xml"/><Relationship Id="rId1" Type="http://schemas.openxmlformats.org/officeDocument/2006/relationships/tags" Target="../tags/tag267.xml"/><Relationship Id="rId5" Type="http://schemas.openxmlformats.org/officeDocument/2006/relationships/image" Target="../media/image22.png"/><Relationship Id="rId4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tags" Target="../tags/tag272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271.xml"/><Relationship Id="rId1" Type="http://schemas.openxmlformats.org/officeDocument/2006/relationships/tags" Target="../tags/tag270.xml"/><Relationship Id="rId6" Type="http://schemas.openxmlformats.org/officeDocument/2006/relationships/tags" Target="../tags/tag275.xml"/><Relationship Id="rId5" Type="http://schemas.openxmlformats.org/officeDocument/2006/relationships/tags" Target="../tags/tag274.xml"/><Relationship Id="rId4" Type="http://schemas.openxmlformats.org/officeDocument/2006/relationships/tags" Target="../tags/tag273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tags" Target="../tags/tag283.xml"/><Relationship Id="rId2" Type="http://schemas.openxmlformats.org/officeDocument/2006/relationships/tags" Target="../tags/tag282.xml"/><Relationship Id="rId1" Type="http://schemas.openxmlformats.org/officeDocument/2006/relationships/tags" Target="../tags/tag281.xml"/><Relationship Id="rId4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84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tags" Target="../tags/tag287.xml"/><Relationship Id="rId2" Type="http://schemas.openxmlformats.org/officeDocument/2006/relationships/tags" Target="../tags/tag286.xml"/><Relationship Id="rId1" Type="http://schemas.openxmlformats.org/officeDocument/2006/relationships/tags" Target="../tags/tag285.xml"/><Relationship Id="rId4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88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tags" Target="../tags/tag291.xml"/><Relationship Id="rId2" Type="http://schemas.openxmlformats.org/officeDocument/2006/relationships/tags" Target="../tags/tag290.xml"/><Relationship Id="rId1" Type="http://schemas.openxmlformats.org/officeDocument/2006/relationships/tags" Target="../tags/tag289.xml"/><Relationship Id="rId4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tags" Target="../tags/tag294.xml"/><Relationship Id="rId2" Type="http://schemas.openxmlformats.org/officeDocument/2006/relationships/tags" Target="../tags/tag293.xml"/><Relationship Id="rId1" Type="http://schemas.openxmlformats.org/officeDocument/2006/relationships/tags" Target="../tags/tag292.xml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tags" Target="../tags/tag297.xml"/><Relationship Id="rId2" Type="http://schemas.openxmlformats.org/officeDocument/2006/relationships/tags" Target="../tags/tag296.xml"/><Relationship Id="rId1" Type="http://schemas.openxmlformats.org/officeDocument/2006/relationships/tags" Target="../tags/tag295.xml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tags" Target="../tags/tag300.xml"/><Relationship Id="rId2" Type="http://schemas.openxmlformats.org/officeDocument/2006/relationships/tags" Target="../tags/tag299.xml"/><Relationship Id="rId1" Type="http://schemas.openxmlformats.org/officeDocument/2006/relationships/tags" Target="../tags/tag298.xml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tags" Target="../tags/tag303.xml"/><Relationship Id="rId2" Type="http://schemas.openxmlformats.org/officeDocument/2006/relationships/tags" Target="../tags/tag302.xml"/><Relationship Id="rId1" Type="http://schemas.openxmlformats.org/officeDocument/2006/relationships/tags" Target="../tags/tag301.xml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tags" Target="../tags/tag306.xml"/><Relationship Id="rId2" Type="http://schemas.openxmlformats.org/officeDocument/2006/relationships/tags" Target="../tags/tag305.xml"/><Relationship Id="rId1" Type="http://schemas.openxmlformats.org/officeDocument/2006/relationships/tags" Target="../tags/tag304.xml"/><Relationship Id="rId5" Type="http://schemas.openxmlformats.org/officeDocument/2006/relationships/image" Target="../media/image8.png"/><Relationship Id="rId4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tags" Target="../tags/tag309.xml"/><Relationship Id="rId2" Type="http://schemas.openxmlformats.org/officeDocument/2006/relationships/tags" Target="../tags/tag308.xml"/><Relationship Id="rId1" Type="http://schemas.openxmlformats.org/officeDocument/2006/relationships/tags" Target="../tags/tag307.xml"/><Relationship Id="rId5" Type="http://schemas.openxmlformats.org/officeDocument/2006/relationships/image" Target="../media/image9.png"/><Relationship Id="rId4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tags" Target="../tags/tag312.xml"/><Relationship Id="rId2" Type="http://schemas.openxmlformats.org/officeDocument/2006/relationships/tags" Target="../tags/tag311.xml"/><Relationship Id="rId1" Type="http://schemas.openxmlformats.org/officeDocument/2006/relationships/tags" Target="../tags/tag310.xml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tags" Target="../tags/tag315.xml"/><Relationship Id="rId2" Type="http://schemas.openxmlformats.org/officeDocument/2006/relationships/tags" Target="../tags/tag314.xml"/><Relationship Id="rId1" Type="http://schemas.openxmlformats.org/officeDocument/2006/relationships/tags" Target="../tags/tag313.xml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tags" Target="../tags/tag318.xml"/><Relationship Id="rId2" Type="http://schemas.openxmlformats.org/officeDocument/2006/relationships/tags" Target="../tags/tag317.xml"/><Relationship Id="rId1" Type="http://schemas.openxmlformats.org/officeDocument/2006/relationships/tags" Target="../tags/tag316.xml"/><Relationship Id="rId5" Type="http://schemas.openxmlformats.org/officeDocument/2006/relationships/image" Target="../media/image12.png"/><Relationship Id="rId4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4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tags" Target="../tags/tag321.xml"/><Relationship Id="rId2" Type="http://schemas.openxmlformats.org/officeDocument/2006/relationships/tags" Target="../tags/tag320.xml"/><Relationship Id="rId1" Type="http://schemas.openxmlformats.org/officeDocument/2006/relationships/tags" Target="../tags/tag319.xml"/><Relationship Id="rId5" Type="http://schemas.openxmlformats.org/officeDocument/2006/relationships/image" Target="../media/image13.png"/><Relationship Id="rId4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tags" Target="../tags/tag324.xml"/><Relationship Id="rId2" Type="http://schemas.openxmlformats.org/officeDocument/2006/relationships/tags" Target="../tags/tag323.xml"/><Relationship Id="rId1" Type="http://schemas.openxmlformats.org/officeDocument/2006/relationships/tags" Target="../tags/tag322.xml"/><Relationship Id="rId5" Type="http://schemas.openxmlformats.org/officeDocument/2006/relationships/image" Target="../media/image14.png"/><Relationship Id="rId4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tags" Target="../tags/tag327.xml"/><Relationship Id="rId2" Type="http://schemas.openxmlformats.org/officeDocument/2006/relationships/tags" Target="../tags/tag326.xml"/><Relationship Id="rId1" Type="http://schemas.openxmlformats.org/officeDocument/2006/relationships/tags" Target="../tags/tag325.xml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tags" Target="../tags/tag330.xml"/><Relationship Id="rId2" Type="http://schemas.openxmlformats.org/officeDocument/2006/relationships/tags" Target="../tags/tag329.xml"/><Relationship Id="rId1" Type="http://schemas.openxmlformats.org/officeDocument/2006/relationships/tags" Target="../tags/tag328.xml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tags" Target="../tags/tag333.xml"/><Relationship Id="rId2" Type="http://schemas.openxmlformats.org/officeDocument/2006/relationships/tags" Target="../tags/tag332.xml"/><Relationship Id="rId1" Type="http://schemas.openxmlformats.org/officeDocument/2006/relationships/tags" Target="../tags/tag331.xml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tags" Target="../tags/tag336.xml"/><Relationship Id="rId2" Type="http://schemas.openxmlformats.org/officeDocument/2006/relationships/tags" Target="../tags/tag335.xml"/><Relationship Id="rId1" Type="http://schemas.openxmlformats.org/officeDocument/2006/relationships/tags" Target="../tags/tag334.xml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tags" Target="../tags/tag339.xml"/><Relationship Id="rId2" Type="http://schemas.openxmlformats.org/officeDocument/2006/relationships/tags" Target="../tags/tag338.xml"/><Relationship Id="rId1" Type="http://schemas.openxmlformats.org/officeDocument/2006/relationships/tags" Target="../tags/tag337.xml"/><Relationship Id="rId5" Type="http://schemas.openxmlformats.org/officeDocument/2006/relationships/image" Target="../media/image8.png"/><Relationship Id="rId4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tags" Target="../tags/tag342.xml"/><Relationship Id="rId2" Type="http://schemas.openxmlformats.org/officeDocument/2006/relationships/tags" Target="../tags/tag341.xml"/><Relationship Id="rId1" Type="http://schemas.openxmlformats.org/officeDocument/2006/relationships/tags" Target="../tags/tag340.xml"/><Relationship Id="rId5" Type="http://schemas.openxmlformats.org/officeDocument/2006/relationships/image" Target="../media/image9.png"/><Relationship Id="rId4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tags" Target="../tags/tag345.xml"/><Relationship Id="rId2" Type="http://schemas.openxmlformats.org/officeDocument/2006/relationships/tags" Target="../tags/tag344.xml"/><Relationship Id="rId1" Type="http://schemas.openxmlformats.org/officeDocument/2006/relationships/tags" Target="../tags/tag343.xml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tags" Target="../tags/tag348.xml"/><Relationship Id="rId2" Type="http://schemas.openxmlformats.org/officeDocument/2006/relationships/tags" Target="../tags/tag347.xml"/><Relationship Id="rId1" Type="http://schemas.openxmlformats.org/officeDocument/2006/relationships/tags" Target="../tags/tag346.xml"/><Relationship Id="rId5" Type="http://schemas.openxmlformats.org/officeDocument/2006/relationships/image" Target="../media/image12.png"/><Relationship Id="rId4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tags" Target="../tags/tag351.xml"/><Relationship Id="rId2" Type="http://schemas.openxmlformats.org/officeDocument/2006/relationships/tags" Target="../tags/tag350.xml"/><Relationship Id="rId1" Type="http://schemas.openxmlformats.org/officeDocument/2006/relationships/tags" Target="../tags/tag349.xml"/><Relationship Id="rId5" Type="http://schemas.openxmlformats.org/officeDocument/2006/relationships/image" Target="../media/image13.png"/><Relationship Id="rId4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tags" Target="../tags/tag354.xml"/><Relationship Id="rId2" Type="http://schemas.openxmlformats.org/officeDocument/2006/relationships/tags" Target="../tags/tag353.xml"/><Relationship Id="rId1" Type="http://schemas.openxmlformats.org/officeDocument/2006/relationships/tags" Target="../tags/tag352.xml"/><Relationship Id="rId5" Type="http://schemas.openxmlformats.org/officeDocument/2006/relationships/image" Target="../media/image14.png"/><Relationship Id="rId4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tags" Target="../tags/tag357.xml"/><Relationship Id="rId2" Type="http://schemas.openxmlformats.org/officeDocument/2006/relationships/tags" Target="../tags/tag356.xml"/><Relationship Id="rId1" Type="http://schemas.openxmlformats.org/officeDocument/2006/relationships/tags" Target="../tags/tag355.xml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tags" Target="../tags/tag360.xml"/><Relationship Id="rId2" Type="http://schemas.openxmlformats.org/officeDocument/2006/relationships/tags" Target="../tags/tag359.xml"/><Relationship Id="rId1" Type="http://schemas.openxmlformats.org/officeDocument/2006/relationships/tags" Target="../tags/tag358.xml"/><Relationship Id="rId5" Type="http://schemas.openxmlformats.org/officeDocument/2006/relationships/image" Target="../media/image15.png"/><Relationship Id="rId4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tags" Target="../tags/tag363.xml"/><Relationship Id="rId7" Type="http://schemas.openxmlformats.org/officeDocument/2006/relationships/image" Target="../media/image18.png"/><Relationship Id="rId2" Type="http://schemas.openxmlformats.org/officeDocument/2006/relationships/tags" Target="../tags/tag362.xml"/><Relationship Id="rId1" Type="http://schemas.openxmlformats.org/officeDocument/2006/relationships/tags" Target="../tags/tag361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tags" Target="../tags/tag366.xml"/><Relationship Id="rId2" Type="http://schemas.openxmlformats.org/officeDocument/2006/relationships/tags" Target="../tags/tag365.xml"/><Relationship Id="rId1" Type="http://schemas.openxmlformats.org/officeDocument/2006/relationships/tags" Target="../tags/tag364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tags" Target="../tags/tag369.xml"/><Relationship Id="rId2" Type="http://schemas.openxmlformats.org/officeDocument/2006/relationships/tags" Target="../tags/tag368.xml"/><Relationship Id="rId1" Type="http://schemas.openxmlformats.org/officeDocument/2006/relationships/tags" Target="../tags/tag367.xml"/><Relationship Id="rId5" Type="http://schemas.openxmlformats.org/officeDocument/2006/relationships/image" Target="../media/image21.png"/><Relationship Id="rId4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tags" Target="../tags/tag372.xml"/><Relationship Id="rId2" Type="http://schemas.openxmlformats.org/officeDocument/2006/relationships/tags" Target="../tags/tag371.xml"/><Relationship Id="rId1" Type="http://schemas.openxmlformats.org/officeDocument/2006/relationships/tags" Target="../tags/tag370.xml"/><Relationship Id="rId5" Type="http://schemas.openxmlformats.org/officeDocument/2006/relationships/image" Target="../media/image22.png"/><Relationship Id="rId4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tags" Target="../tags/tag375.xml"/><Relationship Id="rId2" Type="http://schemas.openxmlformats.org/officeDocument/2006/relationships/tags" Target="../tags/tag374.xml"/><Relationship Id="rId1" Type="http://schemas.openxmlformats.org/officeDocument/2006/relationships/tags" Target="../tags/tag373.xml"/><Relationship Id="rId5" Type="http://schemas.openxmlformats.org/officeDocument/2006/relationships/image" Target="../media/image15.png"/><Relationship Id="rId4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tags" Target="../tags/tag378.xml"/><Relationship Id="rId7" Type="http://schemas.openxmlformats.org/officeDocument/2006/relationships/image" Target="../media/image18.png"/><Relationship Id="rId2" Type="http://schemas.openxmlformats.org/officeDocument/2006/relationships/tags" Target="../tags/tag377.xml"/><Relationship Id="rId1" Type="http://schemas.openxmlformats.org/officeDocument/2006/relationships/tags" Target="../tags/tag376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tags" Target="../tags/tag381.xml"/><Relationship Id="rId2" Type="http://schemas.openxmlformats.org/officeDocument/2006/relationships/tags" Target="../tags/tag380.xml"/><Relationship Id="rId1" Type="http://schemas.openxmlformats.org/officeDocument/2006/relationships/tags" Target="../tags/tag379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tags" Target="../tags/tag384.xml"/><Relationship Id="rId2" Type="http://schemas.openxmlformats.org/officeDocument/2006/relationships/tags" Target="../tags/tag383.xml"/><Relationship Id="rId1" Type="http://schemas.openxmlformats.org/officeDocument/2006/relationships/tags" Target="../tags/tag382.xml"/><Relationship Id="rId5" Type="http://schemas.openxmlformats.org/officeDocument/2006/relationships/image" Target="../media/image21.png"/><Relationship Id="rId4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tags" Target="../tags/tag387.xml"/><Relationship Id="rId2" Type="http://schemas.openxmlformats.org/officeDocument/2006/relationships/tags" Target="../tags/tag386.xml"/><Relationship Id="rId1" Type="http://schemas.openxmlformats.org/officeDocument/2006/relationships/tags" Target="../tags/tag385.xml"/><Relationship Id="rId5" Type="http://schemas.openxmlformats.org/officeDocument/2006/relationships/image" Target="../media/image22.png"/><Relationship Id="rId4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tags" Target="../tags/tag390.xml"/><Relationship Id="rId2" Type="http://schemas.openxmlformats.org/officeDocument/2006/relationships/tags" Target="../tags/tag389.xml"/><Relationship Id="rId1" Type="http://schemas.openxmlformats.org/officeDocument/2006/relationships/tags" Target="../tags/tag388.xml"/><Relationship Id="rId5" Type="http://schemas.openxmlformats.org/officeDocument/2006/relationships/image" Target="../media/image15.png"/><Relationship Id="rId4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tags" Target="../tags/tag393.xml"/><Relationship Id="rId7" Type="http://schemas.openxmlformats.org/officeDocument/2006/relationships/image" Target="../media/image18.png"/><Relationship Id="rId2" Type="http://schemas.openxmlformats.org/officeDocument/2006/relationships/tags" Target="../tags/tag392.xml"/><Relationship Id="rId1" Type="http://schemas.openxmlformats.org/officeDocument/2006/relationships/tags" Target="../tags/tag391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tags" Target="../tags/tag396.xml"/><Relationship Id="rId2" Type="http://schemas.openxmlformats.org/officeDocument/2006/relationships/tags" Target="../tags/tag395.xml"/><Relationship Id="rId1" Type="http://schemas.openxmlformats.org/officeDocument/2006/relationships/tags" Target="../tags/tag394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tags" Target="../tags/tag399.xml"/><Relationship Id="rId2" Type="http://schemas.openxmlformats.org/officeDocument/2006/relationships/tags" Target="../tags/tag398.xml"/><Relationship Id="rId1" Type="http://schemas.openxmlformats.org/officeDocument/2006/relationships/tags" Target="../tags/tag397.xml"/><Relationship Id="rId5" Type="http://schemas.openxmlformats.org/officeDocument/2006/relationships/image" Target="../media/image21.png"/><Relationship Id="rId4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tags" Target="../tags/tag402.xml"/><Relationship Id="rId2" Type="http://schemas.openxmlformats.org/officeDocument/2006/relationships/tags" Target="../tags/tag401.xml"/><Relationship Id="rId1" Type="http://schemas.openxmlformats.org/officeDocument/2006/relationships/tags" Target="../tags/tag400.xml"/><Relationship Id="rId5" Type="http://schemas.openxmlformats.org/officeDocument/2006/relationships/image" Target="../media/image22.png"/><Relationship Id="rId4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40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image" Target="../media/image1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image" Target="../media/image8.png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image" Target="../media/image9.png"/><Relationship Id="rId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5" Type="http://schemas.openxmlformats.org/officeDocument/2006/relationships/image" Target="../media/image12.png"/><Relationship Id="rId4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image" Target="../media/image13.png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5" Type="http://schemas.openxmlformats.org/officeDocument/2006/relationships/image" Target="../media/image14.png"/><Relationship Id="rId4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5" Type="http://schemas.openxmlformats.org/officeDocument/2006/relationships/image" Target="../media/image8.png"/><Relationship Id="rId4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5" Type="http://schemas.openxmlformats.org/officeDocument/2006/relationships/image" Target="../media/image9.png"/><Relationship Id="rId4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5" Type="http://schemas.openxmlformats.org/officeDocument/2006/relationships/image" Target="../media/image12.png"/><Relationship Id="rId4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5" Type="http://schemas.openxmlformats.org/officeDocument/2006/relationships/image" Target="../media/image13.png"/><Relationship Id="rId4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5" Type="http://schemas.openxmlformats.org/officeDocument/2006/relationships/image" Target="../media/image14.png"/><Relationship Id="rId4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5" Type="http://schemas.openxmlformats.org/officeDocument/2006/relationships/image" Target="../media/image15.png"/><Relationship Id="rId4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7" Type="http://schemas.openxmlformats.org/officeDocument/2006/relationships/image" Target="../media/image18.png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5" Type="http://schemas.openxmlformats.org/officeDocument/2006/relationships/image" Target="../media/image21.png"/><Relationship Id="rId4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5" Type="http://schemas.openxmlformats.org/officeDocument/2006/relationships/image" Target="../media/image22.png"/><Relationship Id="rId4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5" Type="http://schemas.openxmlformats.org/officeDocument/2006/relationships/image" Target="../media/image15.png"/><Relationship Id="rId4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7" Type="http://schemas.openxmlformats.org/officeDocument/2006/relationships/image" Target="../media/image18.png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118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5" Type="http://schemas.openxmlformats.org/officeDocument/2006/relationships/image" Target="../media/image21.png"/><Relationship Id="rId4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124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5" Type="http://schemas.openxmlformats.org/officeDocument/2006/relationships/image" Target="../media/image22.png"/><Relationship Id="rId4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127.xml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5" Type="http://schemas.openxmlformats.org/officeDocument/2006/relationships/image" Target="../media/image15.png"/><Relationship Id="rId4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/><Relationship Id="rId7" Type="http://schemas.openxmlformats.org/officeDocument/2006/relationships/image" Target="../media/image18.png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136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5" Type="http://schemas.openxmlformats.org/officeDocument/2006/relationships/image" Target="../media/image21.png"/><Relationship Id="rId4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5" Type="http://schemas.openxmlformats.org/officeDocument/2006/relationships/image" Target="../media/image22.png"/><Relationship Id="rId4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0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1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150.xml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4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1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4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5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158.xml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4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161.xml"/><Relationship Id="rId2" Type="http://schemas.openxmlformats.org/officeDocument/2006/relationships/tags" Target="../tags/tag160.xml"/><Relationship Id="rId1" Type="http://schemas.openxmlformats.org/officeDocument/2006/relationships/tags" Target="../tags/tag159.xml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164.xml"/><Relationship Id="rId2" Type="http://schemas.openxmlformats.org/officeDocument/2006/relationships/tags" Target="../tags/tag163.xml"/><Relationship Id="rId1" Type="http://schemas.openxmlformats.org/officeDocument/2006/relationships/tags" Target="../tags/tag162.xml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167.xml"/><Relationship Id="rId2" Type="http://schemas.openxmlformats.org/officeDocument/2006/relationships/tags" Target="../tags/tag166.xml"/><Relationship Id="rId1" Type="http://schemas.openxmlformats.org/officeDocument/2006/relationships/tags" Target="../tags/tag165.xml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170.xml"/><Relationship Id="rId2" Type="http://schemas.openxmlformats.org/officeDocument/2006/relationships/tags" Target="../tags/tag169.xml"/><Relationship Id="rId1" Type="http://schemas.openxmlformats.org/officeDocument/2006/relationships/tags" Target="../tags/tag168.xml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173.xml"/><Relationship Id="rId2" Type="http://schemas.openxmlformats.org/officeDocument/2006/relationships/tags" Target="../tags/tag172.xml"/><Relationship Id="rId1" Type="http://schemas.openxmlformats.org/officeDocument/2006/relationships/tags" Target="../tags/tag171.xml"/><Relationship Id="rId5" Type="http://schemas.openxmlformats.org/officeDocument/2006/relationships/image" Target="../media/image8.png"/><Relationship Id="rId4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tags" Target="../tags/tag176.xml"/><Relationship Id="rId2" Type="http://schemas.openxmlformats.org/officeDocument/2006/relationships/tags" Target="../tags/tag175.xml"/><Relationship Id="rId1" Type="http://schemas.openxmlformats.org/officeDocument/2006/relationships/tags" Target="../tags/tag174.xml"/><Relationship Id="rId5" Type="http://schemas.openxmlformats.org/officeDocument/2006/relationships/image" Target="../media/image9.png"/><Relationship Id="rId4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4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179.xml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185.xml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5" Type="http://schemas.openxmlformats.org/officeDocument/2006/relationships/image" Target="../media/image12.png"/><Relationship Id="rId4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tags" Target="../tags/tag188.xml"/><Relationship Id="rId2" Type="http://schemas.openxmlformats.org/officeDocument/2006/relationships/tags" Target="../tags/tag187.xml"/><Relationship Id="rId1" Type="http://schemas.openxmlformats.org/officeDocument/2006/relationships/tags" Target="../tags/tag186.xml"/><Relationship Id="rId5" Type="http://schemas.openxmlformats.org/officeDocument/2006/relationships/image" Target="../media/image13.png"/><Relationship Id="rId4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2" Type="http://schemas.openxmlformats.org/officeDocument/2006/relationships/tags" Target="../tags/tag190.xml"/><Relationship Id="rId1" Type="http://schemas.openxmlformats.org/officeDocument/2006/relationships/tags" Target="../tags/tag189.xml"/><Relationship Id="rId5" Type="http://schemas.openxmlformats.org/officeDocument/2006/relationships/image" Target="../media/image14.png"/><Relationship Id="rId4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tags" Target="../tags/tag194.xml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tags" Target="../tags/tag197.xml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tags" Target="../tags/tag200.xml"/><Relationship Id="rId2" Type="http://schemas.openxmlformats.org/officeDocument/2006/relationships/tags" Target="../tags/tag199.xml"/><Relationship Id="rId1" Type="http://schemas.openxmlformats.org/officeDocument/2006/relationships/tags" Target="../tags/tag198.xml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tags" Target="../tags/tag203.xml"/><Relationship Id="rId2" Type="http://schemas.openxmlformats.org/officeDocument/2006/relationships/tags" Target="../tags/tag202.xml"/><Relationship Id="rId1" Type="http://schemas.openxmlformats.org/officeDocument/2006/relationships/tags" Target="../tags/tag201.xml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tags" Target="../tags/tag206.xml"/><Relationship Id="rId2" Type="http://schemas.openxmlformats.org/officeDocument/2006/relationships/tags" Target="../tags/tag205.xml"/><Relationship Id="rId1" Type="http://schemas.openxmlformats.org/officeDocument/2006/relationships/tags" Target="../tags/tag204.xml"/><Relationship Id="rId5" Type="http://schemas.openxmlformats.org/officeDocument/2006/relationships/image" Target="../media/image8.png"/><Relationship Id="rId4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tags" Target="../tags/tag209.xml"/><Relationship Id="rId2" Type="http://schemas.openxmlformats.org/officeDocument/2006/relationships/tags" Target="../tags/tag208.xml"/><Relationship Id="rId1" Type="http://schemas.openxmlformats.org/officeDocument/2006/relationships/tags" Target="../tags/tag207.xml"/><Relationship Id="rId5" Type="http://schemas.openxmlformats.org/officeDocument/2006/relationships/image" Target="../media/image9.png"/><Relationship Id="rId4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tags" Target="../tags/tag212.xml"/><Relationship Id="rId2" Type="http://schemas.openxmlformats.org/officeDocument/2006/relationships/tags" Target="../tags/tag211.xml"/><Relationship Id="rId1" Type="http://schemas.openxmlformats.org/officeDocument/2006/relationships/tags" Target="../tags/tag210.xml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tags" Target="../tags/tag215.xml"/><Relationship Id="rId2" Type="http://schemas.openxmlformats.org/officeDocument/2006/relationships/tags" Target="../tags/tag214.xml"/><Relationship Id="rId1" Type="http://schemas.openxmlformats.org/officeDocument/2006/relationships/tags" Target="../tags/tag213.xml"/><Relationship Id="rId5" Type="http://schemas.openxmlformats.org/officeDocument/2006/relationships/image" Target="../media/image12.png"/><Relationship Id="rId4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tags" Target="../tags/tag218.xml"/><Relationship Id="rId2" Type="http://schemas.openxmlformats.org/officeDocument/2006/relationships/tags" Target="../tags/tag217.xml"/><Relationship Id="rId1" Type="http://schemas.openxmlformats.org/officeDocument/2006/relationships/tags" Target="../tags/tag216.xml"/><Relationship Id="rId5" Type="http://schemas.openxmlformats.org/officeDocument/2006/relationships/image" Target="../media/image13.png"/><Relationship Id="rId4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tags" Target="../tags/tag221.xml"/><Relationship Id="rId2" Type="http://schemas.openxmlformats.org/officeDocument/2006/relationships/tags" Target="../tags/tag220.xml"/><Relationship Id="rId1" Type="http://schemas.openxmlformats.org/officeDocument/2006/relationships/tags" Target="../tags/tag219.xml"/><Relationship Id="rId5" Type="http://schemas.openxmlformats.org/officeDocument/2006/relationships/image" Target="../media/image14.png"/><Relationship Id="rId4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tags" Target="../tags/tag224.xml"/><Relationship Id="rId2" Type="http://schemas.openxmlformats.org/officeDocument/2006/relationships/tags" Target="../tags/tag223.xml"/><Relationship Id="rId1" Type="http://schemas.openxmlformats.org/officeDocument/2006/relationships/tags" Target="../tags/tag222.xml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tags" Target="../tags/tag227.xml"/><Relationship Id="rId2" Type="http://schemas.openxmlformats.org/officeDocument/2006/relationships/tags" Target="../tags/tag226.xml"/><Relationship Id="rId1" Type="http://schemas.openxmlformats.org/officeDocument/2006/relationships/tags" Target="../tags/tag225.xml"/><Relationship Id="rId5" Type="http://schemas.openxmlformats.org/officeDocument/2006/relationships/image" Target="../media/image15.png"/><Relationship Id="rId4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tags" Target="../tags/tag230.xml"/><Relationship Id="rId7" Type="http://schemas.openxmlformats.org/officeDocument/2006/relationships/image" Target="../media/image18.png"/><Relationship Id="rId2" Type="http://schemas.openxmlformats.org/officeDocument/2006/relationships/tags" Target="../tags/tag229.xml"/><Relationship Id="rId1" Type="http://schemas.openxmlformats.org/officeDocument/2006/relationships/tags" Target="../tags/tag228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tags" Target="../tags/tag233.xml"/><Relationship Id="rId2" Type="http://schemas.openxmlformats.org/officeDocument/2006/relationships/tags" Target="../tags/tag232.xml"/><Relationship Id="rId1" Type="http://schemas.openxmlformats.org/officeDocument/2006/relationships/tags" Target="../tags/tag231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tags" Target="../tags/tag236.xml"/><Relationship Id="rId2" Type="http://schemas.openxmlformats.org/officeDocument/2006/relationships/tags" Target="../tags/tag235.xml"/><Relationship Id="rId1" Type="http://schemas.openxmlformats.org/officeDocument/2006/relationships/tags" Target="../tags/tag234.xml"/><Relationship Id="rId5" Type="http://schemas.openxmlformats.org/officeDocument/2006/relationships/image" Target="../media/image21.png"/><Relationship Id="rId4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375DA427-734E-4542-89D3-EEAC4992690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106" y="544342"/>
            <a:ext cx="2085975" cy="2684780"/>
          </a:xfrm>
          <a:prstGeom prst="rect">
            <a:avLst/>
          </a:prstGeom>
        </p:spPr>
      </p:pic>
      <p:sp>
        <p:nvSpPr>
          <p:cNvPr id="12" name="PTITLE">
            <a:extLst>
              <a:ext uri="{FF2B5EF4-FFF2-40B4-BE49-F238E27FC236}">
                <a16:creationId xmlns:a16="http://schemas.microsoft.com/office/drawing/2014/main" id="{F3B82A13-6E5D-584F-BA84-DD3A3448B1A1}"/>
              </a:ext>
            </a:extLst>
          </p:cNvPr>
          <p:cNvSpPr>
            <a:spLocks noGrp="1" noChangeArrowheads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3768472" y="1053280"/>
            <a:ext cx="2820607" cy="1437701"/>
          </a:xfrm>
          <a:prstGeom prst="rect">
            <a:avLst/>
          </a:prstGeom>
          <a:ln algn="ctr"/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defRPr sz="3114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Enter Presentation Title Here</a:t>
            </a:r>
          </a:p>
        </p:txBody>
      </p:sp>
      <p:sp>
        <p:nvSpPr>
          <p:cNvPr id="13" name="PSUBTITLE">
            <a:extLst>
              <a:ext uri="{FF2B5EF4-FFF2-40B4-BE49-F238E27FC236}">
                <a16:creationId xmlns:a16="http://schemas.microsoft.com/office/drawing/2014/main" id="{EB7B88A3-E630-154E-8629-22F04CBF9A05}"/>
              </a:ext>
            </a:extLst>
          </p:cNvPr>
          <p:cNvSpPr>
            <a:spLocks noGrp="1" noChangeArrowheads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3768471" y="2712058"/>
            <a:ext cx="2815209" cy="814325"/>
          </a:xfrm>
          <a:prstGeom prst="rect">
            <a:avLst/>
          </a:prstGeom>
        </p:spPr>
        <p:txBody>
          <a:bodyPr wrap="square" lIns="18288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875"/>
              </a:spcBef>
              <a:buClr>
                <a:schemeClr val="tx2"/>
              </a:buClr>
              <a:buSzTx/>
              <a:buFont typeface="Wingdings" pitchFamily="2" charset="2"/>
              <a:buNone/>
              <a:defRPr sz="2646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821959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67889FA-2987-6547-8DD3-9790BA2DE737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C0FC981-0112-F24A-BDFD-EA8A93B59DD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4712214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3" name="Picture 12" descr="Icon&#10;&#10;Description automatically generated with medium confidence">
            <a:extLst>
              <a:ext uri="{FF2B5EF4-FFF2-40B4-BE49-F238E27FC236}">
                <a16:creationId xmlns:a16="http://schemas.microsoft.com/office/drawing/2014/main" id="{0128B2B5-82A1-3448-BFB7-CF2B82325B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3718" b="386"/>
          <a:stretch/>
        </p:blipFill>
        <p:spPr>
          <a:xfrm>
            <a:off x="5622133" y="1868591"/>
            <a:ext cx="1235869" cy="688886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A7DE922-6484-7F42-B8C8-EADA73FE239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7AD0AC13-DFCD-AC47-90BE-7A7D8C05662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40745931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Icon&#10;&#10;Description automatically generated">
            <a:extLst>
              <a:ext uri="{FF2B5EF4-FFF2-40B4-BE49-F238E27FC236}">
                <a16:creationId xmlns:a16="http://schemas.microsoft.com/office/drawing/2014/main" id="{08281AF6-71F5-1F4F-A5CF-FDB80397FFE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4882" y="1571105"/>
            <a:ext cx="1034471" cy="7185545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E3ED509-1B5D-DC4C-B89C-8007004D0E1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0B48914C-2D4C-2446-98B4-5E029602CB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4444122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C0347639-ACB8-C24F-86BB-2DC198FE7A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48" r="32236"/>
          <a:stretch/>
        </p:blipFill>
        <p:spPr>
          <a:xfrm>
            <a:off x="6102044" y="2385753"/>
            <a:ext cx="755957" cy="1149235"/>
          </a:xfrm>
          <a:prstGeom prst="rect">
            <a:avLst/>
          </a:prstGeom>
        </p:spPr>
      </p:pic>
      <p:pic>
        <p:nvPicPr>
          <p:cNvPr id="10" name="Picture 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BEAAD61F-F912-384C-944A-CB4FF1C00E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85"/>
          <a:stretch/>
        </p:blipFill>
        <p:spPr>
          <a:xfrm>
            <a:off x="6446911" y="1807096"/>
            <a:ext cx="300038" cy="564110"/>
          </a:xfrm>
          <a:prstGeom prst="rect">
            <a:avLst/>
          </a:prstGeom>
        </p:spPr>
      </p:pic>
      <p:pic>
        <p:nvPicPr>
          <p:cNvPr id="14" name="Picture 13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C4C5B6C6-95F3-214E-958A-6FEF1CEFBA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" t="-325" r="58022" b="627"/>
          <a:stretch/>
        </p:blipFill>
        <p:spPr>
          <a:xfrm>
            <a:off x="5955941" y="4276903"/>
            <a:ext cx="902061" cy="448055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7030652-A3F9-E74F-9F4D-18332E0648D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5CFA8A31-CCB9-F249-8FCC-5B4C1F73EB3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5168152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A picture containing window, building&#10;&#10;Description automatically generated">
            <a:extLst>
              <a:ext uri="{FF2B5EF4-FFF2-40B4-BE49-F238E27FC236}">
                <a16:creationId xmlns:a16="http://schemas.microsoft.com/office/drawing/2014/main" id="{0755F79C-25F9-C243-A264-E04EFC41F9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792"/>
          <a:stretch/>
        </p:blipFill>
        <p:spPr>
          <a:xfrm>
            <a:off x="5907232" y="2312216"/>
            <a:ext cx="950769" cy="3448512"/>
          </a:xfrm>
          <a:prstGeom prst="rect">
            <a:avLst/>
          </a:prstGeom>
        </p:spPr>
      </p:pic>
      <p:pic>
        <p:nvPicPr>
          <p:cNvPr id="15" name="Picture 14" descr="A picture containing icon&#10;&#10;Description automatically generated">
            <a:extLst>
              <a:ext uri="{FF2B5EF4-FFF2-40B4-BE49-F238E27FC236}">
                <a16:creationId xmlns:a16="http://schemas.microsoft.com/office/drawing/2014/main" id="{B9E4F544-13FE-4749-90A6-1A6FDB204A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536" t="-4489" r="40379" b="-1"/>
          <a:stretch/>
        </p:blipFill>
        <p:spPr>
          <a:xfrm>
            <a:off x="5392559" y="4273667"/>
            <a:ext cx="1465442" cy="451612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20D2115-FD71-8A43-A626-1888D776010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3A204263-3063-0549-8048-8A97E14589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1861529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254D66C8-1FFE-E54B-850C-848AD03BFB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53" r="53883"/>
          <a:stretch/>
        </p:blipFill>
        <p:spPr>
          <a:xfrm>
            <a:off x="5955912" y="3180103"/>
            <a:ext cx="902091" cy="5600792"/>
          </a:xfrm>
          <a:prstGeom prst="rect">
            <a:avLst/>
          </a:prstGeom>
        </p:spPr>
      </p:pic>
      <p:pic>
        <p:nvPicPr>
          <p:cNvPr id="14" name="Picture 13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E9CB234-D20A-924A-BDF2-518C78FBE0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52" t="-1602" r="62206" b="78438"/>
          <a:stretch/>
        </p:blipFill>
        <p:spPr>
          <a:xfrm>
            <a:off x="6388462" y="2022077"/>
            <a:ext cx="469541" cy="154200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D3F28F2-8E5F-924B-8573-38B37FCB071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3AA3A209-835E-A04A-81CA-DA9FFF764C0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5781551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BC61A3AC-8C2C-494A-BB65-FB0C8E703E7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Icon&#10;&#10;Description automatically generated with medium confidence">
            <a:extLst>
              <a:ext uri="{FF2B5EF4-FFF2-40B4-BE49-F238E27FC236}">
                <a16:creationId xmlns:a16="http://schemas.microsoft.com/office/drawing/2014/main" id="{AB280D7A-EF33-4644-968C-D30835E77E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3718" b="386"/>
          <a:stretch/>
        </p:blipFill>
        <p:spPr>
          <a:xfrm>
            <a:off x="5622133" y="1868591"/>
            <a:ext cx="1235869" cy="6888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29378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Picture 10" descr="Icon&#10;&#10;Description automatically generated">
            <a:extLst>
              <a:ext uri="{FF2B5EF4-FFF2-40B4-BE49-F238E27FC236}">
                <a16:creationId xmlns:a16="http://schemas.microsoft.com/office/drawing/2014/main" id="{CC5F6D90-6C63-A04F-86C2-AA526733194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4882" y="1571105"/>
            <a:ext cx="1034471" cy="7185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24975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97C55C66-D2CE-6642-81CA-049497B833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48" r="32236"/>
          <a:stretch/>
        </p:blipFill>
        <p:spPr>
          <a:xfrm>
            <a:off x="6102044" y="2385753"/>
            <a:ext cx="755957" cy="1149235"/>
          </a:xfrm>
          <a:prstGeom prst="rect">
            <a:avLst/>
          </a:prstGeom>
        </p:spPr>
      </p:pic>
      <p:pic>
        <p:nvPicPr>
          <p:cNvPr id="9" name="Picture 8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E8C54222-97E6-AD40-96B7-899B9B9187B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85"/>
          <a:stretch/>
        </p:blipFill>
        <p:spPr>
          <a:xfrm>
            <a:off x="6446911" y="1807096"/>
            <a:ext cx="300038" cy="564110"/>
          </a:xfrm>
          <a:prstGeom prst="rect">
            <a:avLst/>
          </a:prstGeom>
        </p:spPr>
      </p:pic>
      <p:pic>
        <p:nvPicPr>
          <p:cNvPr id="10" name="Picture 9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063B7AC5-65BE-2C4D-9D6A-B125A59C31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" t="-325" r="58022" b="627"/>
          <a:stretch/>
        </p:blipFill>
        <p:spPr>
          <a:xfrm>
            <a:off x="5955941" y="4276903"/>
            <a:ext cx="902061" cy="4480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8845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Picture 10" descr="A picture containing window, building&#10;&#10;Description automatically generated">
            <a:extLst>
              <a:ext uri="{FF2B5EF4-FFF2-40B4-BE49-F238E27FC236}">
                <a16:creationId xmlns:a16="http://schemas.microsoft.com/office/drawing/2014/main" id="{5A382068-DF6F-7540-BAEA-33BEC6FE1B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792"/>
          <a:stretch/>
        </p:blipFill>
        <p:spPr>
          <a:xfrm>
            <a:off x="5907232" y="2312216"/>
            <a:ext cx="950769" cy="3448512"/>
          </a:xfrm>
          <a:prstGeom prst="rect">
            <a:avLst/>
          </a:prstGeom>
        </p:spPr>
      </p:pic>
      <p:pic>
        <p:nvPicPr>
          <p:cNvPr id="12" name="Picture 11" descr="A picture containing icon&#10;&#10;Description automatically generated">
            <a:extLst>
              <a:ext uri="{FF2B5EF4-FFF2-40B4-BE49-F238E27FC236}">
                <a16:creationId xmlns:a16="http://schemas.microsoft.com/office/drawing/2014/main" id="{DC6A4A51-DFE2-4643-A79B-E61A283E58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536" t="-4489" r="40379" b="-1"/>
          <a:stretch/>
        </p:blipFill>
        <p:spPr>
          <a:xfrm>
            <a:off x="5392559" y="4273667"/>
            <a:ext cx="1465442" cy="4516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75441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A893435-86FB-F441-A795-2B71DF76C6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53" r="53883"/>
          <a:stretch/>
        </p:blipFill>
        <p:spPr>
          <a:xfrm>
            <a:off x="5955912" y="3180103"/>
            <a:ext cx="902091" cy="5600792"/>
          </a:xfrm>
          <a:prstGeom prst="rect">
            <a:avLst/>
          </a:prstGeom>
        </p:spPr>
      </p:pic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42FD914-B426-3C48-A32C-AA65D19904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52" t="-1602" r="62206" b="78438"/>
          <a:stretch/>
        </p:blipFill>
        <p:spPr>
          <a:xfrm>
            <a:off x="6388462" y="2022077"/>
            <a:ext cx="469541" cy="1542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92159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67889FA-2987-6547-8DD3-9790BA2DE737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C0FC981-0112-F24A-BDFD-EA8A93B59DD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7914442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Picture 10" descr="Icon&#10;&#10;Description automatically generated with medium confidence">
            <a:extLst>
              <a:ext uri="{FF2B5EF4-FFF2-40B4-BE49-F238E27FC236}">
                <a16:creationId xmlns:a16="http://schemas.microsoft.com/office/drawing/2014/main" id="{6AB402DA-56C6-AA43-8828-19A7125852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3718" b="386"/>
          <a:stretch/>
        </p:blipFill>
        <p:spPr>
          <a:xfrm>
            <a:off x="5622133" y="1868591"/>
            <a:ext cx="1235869" cy="6888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21841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357737"/>
            <a:ext cx="5922819" cy="6589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432" b="1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2" name="SUBTITLE"/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603966"/>
            <a:ext cx="5922819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362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7" name="SECTIONHEADER"/>
          <p:cNvSpPr>
            <a:spLocks noGrp="1"/>
          </p:cNvSpPr>
          <p:nvPr>
            <p:ph type="body" sz="quarter" idx="18" hasCustomPrompt="1"/>
            <p:custDataLst>
              <p:tags r:id="rId3"/>
            </p:custDataLst>
          </p:nvPr>
        </p:nvSpPr>
        <p:spPr>
          <a:xfrm>
            <a:off x="3429003" y="1321578"/>
            <a:ext cx="2961409" cy="214614"/>
          </a:xfrm>
          <a:prstGeom prst="rect">
            <a:avLst/>
          </a:prstGeom>
        </p:spPr>
        <p:txBody>
          <a:bodyPr wrap="none" lIns="0" tIns="36576" rIns="0" bIns="0"/>
          <a:lstStyle>
            <a:lvl1pPr algn="r">
              <a:buNone/>
              <a:defRPr sz="778" b="1">
                <a:solidFill>
                  <a:srgbClr val="00395C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/>
              <a:t>Section Header (used to create Tab Pages and Table of Contents)</a:t>
            </a:r>
          </a:p>
        </p:txBody>
      </p:sp>
      <p:sp>
        <p:nvSpPr>
          <p:cNvPr id="5" name="CONTENT_BODY"/>
          <p:cNvSpPr>
            <a:spLocks noGrp="1"/>
          </p:cNvSpPr>
          <p:nvPr>
            <p:ph sz="quarter" idx="19" hasCustomPrompt="1"/>
            <p:custDataLst>
              <p:tags r:id="rId4"/>
            </p:custDataLst>
          </p:nvPr>
        </p:nvSpPr>
        <p:spPr>
          <a:xfrm>
            <a:off x="467592" y="2067089"/>
            <a:ext cx="5922819" cy="6212541"/>
          </a:xfrm>
          <a:prstGeom prst="rect">
            <a:avLst/>
          </a:prstGeom>
        </p:spPr>
        <p:txBody>
          <a:bodyPr lIns="0" rIns="18288"/>
          <a:lstStyle/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FOOTNOTE"/>
          <p:cNvSpPr>
            <a:spLocks noGrp="1"/>
          </p:cNvSpPr>
          <p:nvPr>
            <p:ph type="body" sz="quarter" idx="25" hasCustomPrompt="1"/>
            <p:custDataLst>
              <p:tags r:id="rId5"/>
            </p:custDataLst>
          </p:nvPr>
        </p:nvSpPr>
        <p:spPr>
          <a:xfrm>
            <a:off x="467592" y="8674023"/>
            <a:ext cx="5922819" cy="410959"/>
          </a:xfrm>
          <a:prstGeom prst="rect">
            <a:avLst/>
          </a:prstGeom>
        </p:spPr>
        <p:txBody>
          <a:bodyPr lIns="0" tIns="18288" rIns="18288" bIns="18288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78" i="1">
                <a:solidFill>
                  <a:schemeClr val="tx1"/>
                </a:solidFill>
              </a:defRPr>
            </a:lvl1pPr>
            <a:lvl2pPr marL="0" indent="168346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+mj-lt"/>
              <a:buAutoNum type="arabicPeriod"/>
              <a:defRPr sz="778" i="1">
                <a:solidFill>
                  <a:schemeClr val="tx1"/>
                </a:solidFill>
              </a:defRPr>
            </a:lvl2pPr>
            <a:lvl3pPr marL="444795" indent="-22240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90000"/>
              <a:buFont typeface="+mj-lt"/>
              <a:buAutoNum type="alphaLcParenR"/>
              <a:defRPr sz="778" i="1">
                <a:solidFill>
                  <a:schemeClr val="tx1"/>
                </a:solidFill>
              </a:defRPr>
            </a:lvl3pPr>
            <a:lvl4pPr marL="668741" indent="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+mj-lt"/>
              <a:buNone/>
              <a:defRPr sz="778">
                <a:solidFill>
                  <a:schemeClr val="tx1"/>
                </a:solidFill>
              </a:defRPr>
            </a:lvl4pPr>
            <a:lvl5pPr marL="1223191" indent="-333596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+mj-lt"/>
              <a:buAutoNum type="alphaLcPeriod"/>
              <a:defRPr sz="778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________________________</a:t>
            </a:r>
          </a:p>
          <a:p>
            <a:pPr lvl="0"/>
            <a:r>
              <a:rPr lang="en-US"/>
              <a:t>Source:</a:t>
            </a:r>
          </a:p>
          <a:p>
            <a:pPr lvl="1"/>
            <a:r>
              <a:rPr lang="en-US"/>
              <a:t>Footnotes</a:t>
            </a:r>
          </a:p>
        </p:txBody>
      </p:sp>
      <p:sp>
        <p:nvSpPr>
          <p:cNvPr id="8" name="PAGENUMBER">
            <a:extLst>
              <a:ext uri="{FF2B5EF4-FFF2-40B4-BE49-F238E27FC236}">
                <a16:creationId xmlns:a16="http://schemas.microsoft.com/office/drawing/2014/main" id="{F9530200-9D55-4CD7-9136-220782A2B11D}"/>
              </a:ext>
            </a:extLst>
          </p:cNvPr>
          <p:cNvSpPr>
            <a:spLocks noGrp="1"/>
          </p:cNvSpPr>
          <p:nvPr>
            <p:ph type="body" sz="quarter" idx="23" hasCustomPrompt="1"/>
            <p:custDataLst>
              <p:tags r:id="rId6"/>
            </p:custDataLst>
          </p:nvPr>
        </p:nvSpPr>
        <p:spPr>
          <a:xfrm>
            <a:off x="2630978" y="8900882"/>
            <a:ext cx="1602279" cy="50829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69"/>
            </a:lvl1pPr>
          </a:lstStyle>
          <a:p>
            <a:pPr lvl="0"/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9229797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Custom Layout">
  <p:cSld name="16_Custom Layout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gd9aae3edd8_0_159"/>
          <p:cNvSpPr txBox="1">
            <a:spLocks noGrp="1"/>
          </p:cNvSpPr>
          <p:nvPr>
            <p:ph type="title"/>
          </p:nvPr>
        </p:nvSpPr>
        <p:spPr>
          <a:xfrm>
            <a:off x="293445" y="1292469"/>
            <a:ext cx="5915025" cy="1259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646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1" name="Google Shape;21;gd9aae3edd8_0_1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22557" y="530975"/>
            <a:ext cx="1147397" cy="552238"/>
          </a:xfrm>
          <a:prstGeom prst="rect">
            <a:avLst/>
          </a:prstGeom>
          <a:noFill/>
          <a:ln>
            <a:noFill/>
          </a:ln>
        </p:spPr>
      </p:pic>
      <p:sp>
        <p:nvSpPr>
          <p:cNvPr id="22" name="Google Shape;22;gd9aae3edd8_0_159"/>
          <p:cNvSpPr txBox="1">
            <a:spLocks noGrp="1"/>
          </p:cNvSpPr>
          <p:nvPr>
            <p:ph type="sldNum" idx="12"/>
          </p:nvPr>
        </p:nvSpPr>
        <p:spPr>
          <a:xfrm>
            <a:off x="6417590" y="8866388"/>
            <a:ext cx="411581" cy="73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3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3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3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3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3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3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3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3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3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722956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risp 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6F11449E-0F8D-4CCF-B9E3-B6BCF28C0D77}"/>
              </a:ext>
            </a:extLst>
          </p:cNvPr>
          <p:cNvSpPr/>
          <p:nvPr userDrawn="1"/>
        </p:nvSpPr>
        <p:spPr>
          <a:xfrm>
            <a:off x="0" y="0"/>
            <a:ext cx="6858000" cy="750646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6323" tIns="58162" rIns="116323" bIns="5816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289"/>
          </a:p>
        </p:txBody>
      </p:sp>
    </p:spTree>
    <p:extLst>
      <p:ext uri="{BB962C8B-B14F-4D97-AF65-F5344CB8AC3E}">
        <p14:creationId xmlns:p14="http://schemas.microsoft.com/office/powerpoint/2010/main" val="296201202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CA3FC3D-D4C7-754E-A0BC-78A17791F0F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BC74A1F-1A5F-964F-86B7-9ED3F989877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2725748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CA3FC3D-D4C7-754E-A0BC-78A17791F0F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BC74A1F-1A5F-964F-86B7-9ED3F989877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670057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67889FA-2987-6547-8DD3-9790BA2DE737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C0FC981-0112-F24A-BDFD-EA8A93B59DD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3383622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67889FA-2987-6547-8DD3-9790BA2DE737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C0FC981-0112-F24A-BDFD-EA8A93B59DD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2532705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2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667529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1176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67889FA-2987-6547-8DD3-9790BA2DE737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C0FC981-0112-F24A-BDFD-EA8A93B59DD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5580990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303876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B26B84C-55CA-EE4F-8980-930C5FC90F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1073" y="2351413"/>
            <a:ext cx="3504010" cy="5951186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74547A36-015A-7E4F-BAA2-B6DAF1129B64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908FB5FA-1F33-6741-91B4-BA3982565AC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8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4C97A00-CF03-7F4C-BDCC-240AF2EF9E5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40EC43F-F4FB-BE49-A897-7EC3619D66D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543970AC-FB34-B54D-AEC8-13E886D02C5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03276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4" name="Picture 3" descr="A person and person sitting at a table&#10;&#10;Description automatically generated with low confidence">
            <a:extLst>
              <a:ext uri="{FF2B5EF4-FFF2-40B4-BE49-F238E27FC236}">
                <a16:creationId xmlns:a16="http://schemas.microsoft.com/office/drawing/2014/main" id="{CD7A90E9-93DB-E242-9EE5-25073AAC12D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5395" y="1954840"/>
            <a:ext cx="3300212" cy="6486221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0FB04D65-2AB6-BB46-900D-499E25F6399F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DF75F0E1-FF52-4F47-8D31-2F91FA90FA68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8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08D9FD7-3B6B-A642-B69C-5E0D6848D72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DF891E3-C50C-3045-8D5B-FAC7DE9D89A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BFA8B594-C762-C049-BA5A-97A4231ECB6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2858442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E751C71E-69DD-8548-8A03-A95195FC12F4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0145D153-4259-C442-A60B-877B687AA0B4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8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36AD6D6-44CC-8040-8106-98BCE69F6449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20" name="Picture 1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A2D5806E-A8F3-1F4D-82FA-4F558AFEEC6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1056" y="2321174"/>
            <a:ext cx="3530411" cy="6106552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158263E-7ED4-DD4B-8B85-2217C17E8C3A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4489ECC-72A6-FD4C-A90E-971EA795D5C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41773144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4" name="Picture 3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D6DF272A-DFA2-CA48-A33F-A2930A3AA68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8210" y="1938026"/>
            <a:ext cx="3313388" cy="6663055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12A48CC2-0DE3-744A-80BC-8F496E076C99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7F619E19-7687-774F-9736-E8F8B3CE929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8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F67E747-BF57-1841-BC64-60990BB5EB0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6341B48-CB55-7643-9146-504AC38BF2F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BA5D2C38-EDC8-3345-88F7-3F26677064A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4959335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36022C7-4E0C-634C-8EA4-E25F7D17CEB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493" y="2106938"/>
            <a:ext cx="3373636" cy="6275664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6CCB1D9A-C04F-1D46-B01F-25E830C460FD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7E1DBCD0-262A-9B4B-A202-A0484C1A7AA8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8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816EC32-037D-E148-920B-B6B9C0BA59CE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07F2ABA-46AC-5846-A87F-1B0C07DF928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6A878E25-72EB-6E4F-88FB-450C426912A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2449691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13" name="Picture 12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3246AED4-C5D7-744C-9285-5271D768C68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9999" y="2000258"/>
            <a:ext cx="3307783" cy="6547485"/>
          </a:xfrm>
          <a:prstGeom prst="rect">
            <a:avLst/>
          </a:prstGeom>
        </p:spPr>
      </p:pic>
      <p:sp>
        <p:nvSpPr>
          <p:cNvPr id="15" name="SUBTITLE">
            <a:extLst>
              <a:ext uri="{FF2B5EF4-FFF2-40B4-BE49-F238E27FC236}">
                <a16:creationId xmlns:a16="http://schemas.microsoft.com/office/drawing/2014/main" id="{C700CA76-1402-B04D-A5F4-59137397F33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712270B3-06B2-124E-89A0-389B22EE271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8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291EECB-33F1-774B-9367-105EC058517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5E58BEC-0C7F-2844-A1C5-F460D474FB5F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E6F2B0C6-B1E0-DA4B-BC8E-04C5527B498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436877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6" name="Picture 5" descr="A picture containing text, vector graphics&#10;&#10;Description automatically generated">
            <a:extLst>
              <a:ext uri="{FF2B5EF4-FFF2-40B4-BE49-F238E27FC236}">
                <a16:creationId xmlns:a16="http://schemas.microsoft.com/office/drawing/2014/main" id="{812C280E-BCC1-694E-8311-E388CD071BF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0352" y="2196850"/>
            <a:ext cx="3650456" cy="6368671"/>
          </a:xfrm>
          <a:prstGeom prst="rect">
            <a:avLst/>
          </a:prstGeom>
        </p:spPr>
      </p:pic>
      <p:sp>
        <p:nvSpPr>
          <p:cNvPr id="15" name="SUBTITLE">
            <a:extLst>
              <a:ext uri="{FF2B5EF4-FFF2-40B4-BE49-F238E27FC236}">
                <a16:creationId xmlns:a16="http://schemas.microsoft.com/office/drawing/2014/main" id="{E9FA6826-A7DE-AF4C-B064-5C0EF3E88168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65799A06-E165-5E4D-AD06-5147E2952E3E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8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267099F-5424-0542-B5F2-A9666C380755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216228E-91EE-8B47-A1DD-BBCCFB163FB0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DEE6C93A-7981-DB43-9B20-8EC15CA7236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6928566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572FC43F-47A3-C74B-9D80-9114C3C975A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5011" y="2093596"/>
            <a:ext cx="3226016" cy="6560820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15F3F329-EB0F-BA44-BD7D-DEF3771EB3C4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57D66653-6AB4-4741-92DD-CCB67AE1BAFA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8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3EFABD2-FB45-DF41-8952-3876CC976482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7E974D6-1C7B-204A-B803-BEE774AEB095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C6FB52EA-4D0B-8849-9D44-7B7677CF1F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3435382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4" name="Picture 3" descr="A picture containing bedroom&#10;&#10;Description automatically generated">
            <a:extLst>
              <a:ext uri="{FF2B5EF4-FFF2-40B4-BE49-F238E27FC236}">
                <a16:creationId xmlns:a16="http://schemas.microsoft.com/office/drawing/2014/main" id="{16A213DA-5018-A348-A2E6-EA4AC1E8E3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1407"/>
          <a:stretch/>
        </p:blipFill>
        <p:spPr>
          <a:xfrm>
            <a:off x="2846785" y="2115825"/>
            <a:ext cx="3378994" cy="6413032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DB5D7591-2B4F-4C40-A9A6-2577DFCFC49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753F9D1B-43EA-4B45-96B2-8F0AA75C84CA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8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C8F8380-77EE-3440-96B8-B5BD10FFD7F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81BE6AD-51A9-6849-AE16-0E81937D2D6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E5002B3E-358D-9D4B-923F-4A9B00853F3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0970646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68927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 descr="A person pushing a person in a wheelchair&#10;&#10;Description automatically generated with medium confidence">
            <a:extLst>
              <a:ext uri="{FF2B5EF4-FFF2-40B4-BE49-F238E27FC236}">
                <a16:creationId xmlns:a16="http://schemas.microsoft.com/office/drawing/2014/main" id="{C2BB09E2-412A-8843-BF63-02FA4DC1AE2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9648" y="1929134"/>
            <a:ext cx="3220078" cy="6551931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57C7A60A-EA51-1441-A2C7-FC0C8DC97FCB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3C5E8E72-0225-0440-94F9-103F3E13D952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8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43DE48B-6A69-1548-A93A-6890580DD7F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E9AF25F-BEFC-E948-A3F4-54212E13B3C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43ACEC71-69C8-1342-A41B-96C12DB19EB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6523941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BA77DD56-CF2D-7143-A269-17CD1CDF1486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1" name="CONTENT_BODY">
            <a:extLst>
              <a:ext uri="{FF2B5EF4-FFF2-40B4-BE49-F238E27FC236}">
                <a16:creationId xmlns:a16="http://schemas.microsoft.com/office/drawing/2014/main" id="{5CF8FE1B-8254-3045-AD7C-359A1EA50C00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8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ACCDD8A-7501-684E-82AC-FE12D8BBEC41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66C7207C-A2E3-9047-A798-273D4A4115A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5405" y="1866902"/>
            <a:ext cx="3204650" cy="6848972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52F8906-57CC-3F4B-BA86-4D49E40C4285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97545CEB-AA76-114C-B8BB-EED295A6A02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4779609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9" y="2878273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B26B84C-55CA-EE4F-8980-930C5FC90F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396" y="2391418"/>
            <a:ext cx="3504010" cy="595118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06CC4D0-5556-D84E-A8A7-3B6ED4814D49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A4440AE9-9FBF-5C48-8966-17A3A54ED8B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769132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A person and person sitting at a table&#10;&#10;Description automatically generated with low confidence">
            <a:extLst>
              <a:ext uri="{FF2B5EF4-FFF2-40B4-BE49-F238E27FC236}">
                <a16:creationId xmlns:a16="http://schemas.microsoft.com/office/drawing/2014/main" id="{9839DB6C-11F2-0940-A9F0-202160AD698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581" y="1954840"/>
            <a:ext cx="3300212" cy="6486221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F36FB9A9-9207-EF4D-BD99-BF4EDC2BA164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9" y="2878273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DCE9D31-06F5-C843-9DC1-1FF9A025E05E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1E406DC6-6CB1-5F4F-AE73-60E7952124B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3436350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20D0C946-5ADD-8B41-B649-6925D550BC8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840" y="2321174"/>
            <a:ext cx="3530411" cy="6106552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84FCA277-348C-5C42-918C-26627AE47FF2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9" y="2878273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E218AA5-BD09-1E49-89F7-C6241D7AD229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3957676-6A42-1743-B957-6E78550BE19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8312058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7A864146-6CCE-9A4A-84BA-B6BCDAF5D30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131" y="1938026"/>
            <a:ext cx="3313388" cy="6663055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5BE26645-9E7A-F548-B39E-AD1776B7626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9" y="2878273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604E142-6BB1-BA4F-9634-9340B6077CF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EE63458E-6241-1340-AA06-D6280B5A500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1915555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DE5459C2-4B47-8440-B7B9-578E698F5D7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128" y="2106938"/>
            <a:ext cx="3373636" cy="6275664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B9775042-0EAD-924F-A799-62789C37D750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9" y="2878273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706CFE3-CD00-984B-B662-4F7D04634BB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6F725BDE-5F05-C14C-AF44-FB1BDBF8E31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4523399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B0877346-9DC8-0343-9DCE-804A59167A3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772" y="2000258"/>
            <a:ext cx="3307783" cy="6547485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56F0E052-93EF-3643-BCDC-4906B91EAD5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9" y="2878273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5238120-D557-4244-88A0-C3D6FDEA8CE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E986EC7-CC70-854E-9AEC-20907FA1E17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1592941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 descr="A picture containing text, vector graphics&#10;&#10;Description automatically generated">
            <a:extLst>
              <a:ext uri="{FF2B5EF4-FFF2-40B4-BE49-F238E27FC236}">
                <a16:creationId xmlns:a16="http://schemas.microsoft.com/office/drawing/2014/main" id="{DB8F2F09-0FE3-4A4F-ACA6-7F81E8B8E3C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968" y="2196850"/>
            <a:ext cx="3650456" cy="6368671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5BDDD7F7-2303-2144-AC89-7933313B61C2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9" y="2878273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F71A0F5-4117-5E48-AEC2-8DB22FB6580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35D38590-BB10-9248-96D4-51B85870E6F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4672445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2" name="Picture 11" descr="A picture containing bedroom&#10;&#10;Description automatically generated">
            <a:extLst>
              <a:ext uri="{FF2B5EF4-FFF2-40B4-BE49-F238E27FC236}">
                <a16:creationId xmlns:a16="http://schemas.microsoft.com/office/drawing/2014/main" id="{A4C46BDA-DDCE-F945-B5A5-9BFF86253E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1407"/>
          <a:stretch/>
        </p:blipFill>
        <p:spPr>
          <a:xfrm>
            <a:off x="371476" y="2115825"/>
            <a:ext cx="3378994" cy="6413032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F426D2B8-6A2C-0F42-A33E-2F8DEC900B9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9" y="2878273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74C9DAF-C0E9-6846-B2F8-20B3333F4A60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E134E39-4866-EC4C-83A0-B1EC1557109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5689490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90248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A person pushing a person in a wheelchair&#10;&#10;Description automatically generated with medium confidence">
            <a:extLst>
              <a:ext uri="{FF2B5EF4-FFF2-40B4-BE49-F238E27FC236}">
                <a16:creationId xmlns:a16="http://schemas.microsoft.com/office/drawing/2014/main" id="{80EEB071-ACF4-BF4B-9446-07CBF0CF71A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633" y="1929134"/>
            <a:ext cx="3220078" cy="6551931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DE095F98-09C4-5D45-8067-131EB41A2A14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9" y="2878273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877E37E-479B-EC4D-8F04-16D51705606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D61C570-0340-954F-9484-FB0A64EA9B2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4484235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6A913BD2-E033-F440-A59D-9342F474207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380" y="1866902"/>
            <a:ext cx="3204650" cy="6848972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06BA9F2C-3AFE-8E44-A4FA-47B2B89B4446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9" y="2878273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5ACA424-3199-A14F-92C8-A844C7A91B8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521D3765-BB43-7C43-8981-4C0DA1D597E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6888476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A picture containing text&#10;&#10;Description automatically generated">
            <a:extLst>
              <a:ext uri="{FF2B5EF4-FFF2-40B4-BE49-F238E27FC236}">
                <a16:creationId xmlns:a16="http://schemas.microsoft.com/office/drawing/2014/main" id="{28B037F3-E995-E146-ADA1-7DDFCF9C891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271" y="2093596"/>
            <a:ext cx="3226016" cy="6560820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E5FA3264-73E9-1E4E-8198-FF3FD2778C65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9" y="2878273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9FEFCC-25CE-3A4B-9369-7B3B7F8855A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1890F2F-F48E-BF47-B426-AC7C664FE54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41031289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3" name="Picture 12" descr="Icon&#10;&#10;Description automatically generated">
            <a:extLst>
              <a:ext uri="{FF2B5EF4-FFF2-40B4-BE49-F238E27FC236}">
                <a16:creationId xmlns:a16="http://schemas.microsoft.com/office/drawing/2014/main" id="{9BA565C6-4721-7341-BE63-E67036183FE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4883" y="1571107"/>
            <a:ext cx="1034471" cy="7185545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71EDBA7-8291-694D-A458-9595F81A169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BE2B5292-6F5F-3341-867F-0C9B0CD4AEE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4936120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7E67D680-12ED-824A-87EF-6791CFA1E5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48" r="32236"/>
          <a:stretch/>
        </p:blipFill>
        <p:spPr>
          <a:xfrm>
            <a:off x="6102044" y="2385760"/>
            <a:ext cx="755957" cy="1149236"/>
          </a:xfrm>
          <a:prstGeom prst="rect">
            <a:avLst/>
          </a:prstGeom>
        </p:spPr>
      </p:pic>
      <p:pic>
        <p:nvPicPr>
          <p:cNvPr id="10" name="Picture 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6C126D6A-DDDE-834A-B729-8C50F919F1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85"/>
          <a:stretch/>
        </p:blipFill>
        <p:spPr>
          <a:xfrm>
            <a:off x="6446912" y="1807096"/>
            <a:ext cx="300038" cy="564110"/>
          </a:xfrm>
          <a:prstGeom prst="rect">
            <a:avLst/>
          </a:prstGeom>
        </p:spPr>
      </p:pic>
      <p:pic>
        <p:nvPicPr>
          <p:cNvPr id="11" name="Picture 10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4AB055B6-38C0-B645-A119-8AC14F6B2C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" t="-325" r="58022" b="627"/>
          <a:stretch/>
        </p:blipFill>
        <p:spPr>
          <a:xfrm>
            <a:off x="5955941" y="4276908"/>
            <a:ext cx="902061" cy="448055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323FAE0-C312-F34A-A6E6-2C89A65B2CE1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EC166583-7A41-4041-803E-9B3C0754E4A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2705281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A picture containing window, building&#10;&#10;Description automatically generated">
            <a:extLst>
              <a:ext uri="{FF2B5EF4-FFF2-40B4-BE49-F238E27FC236}">
                <a16:creationId xmlns:a16="http://schemas.microsoft.com/office/drawing/2014/main" id="{CB89B883-6AD8-B84D-B7F9-3A9757F16D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792"/>
          <a:stretch/>
        </p:blipFill>
        <p:spPr>
          <a:xfrm>
            <a:off x="5907234" y="2312217"/>
            <a:ext cx="950769" cy="3448512"/>
          </a:xfrm>
          <a:prstGeom prst="rect">
            <a:avLst/>
          </a:prstGeom>
        </p:spPr>
      </p:pic>
      <p:pic>
        <p:nvPicPr>
          <p:cNvPr id="13" name="Picture 12" descr="A picture containing icon&#10;&#10;Description automatically generated">
            <a:extLst>
              <a:ext uri="{FF2B5EF4-FFF2-40B4-BE49-F238E27FC236}">
                <a16:creationId xmlns:a16="http://schemas.microsoft.com/office/drawing/2014/main" id="{E2C3AEB5-ED5F-E84E-AD7A-898ACF65B4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536" t="-4489" r="40379" b="-1"/>
          <a:stretch/>
        </p:blipFill>
        <p:spPr>
          <a:xfrm>
            <a:off x="5392560" y="4273667"/>
            <a:ext cx="1465442" cy="451612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8C6848F-00AC-D549-8DED-3D587B4F72B6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9568B903-FC70-884E-9081-28161BF1EF5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0196063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6F86EDC7-B97B-7D47-99B4-FB6B796F0F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53" r="53883"/>
          <a:stretch/>
        </p:blipFill>
        <p:spPr>
          <a:xfrm>
            <a:off x="5955912" y="3180110"/>
            <a:ext cx="902091" cy="5600794"/>
          </a:xfrm>
          <a:prstGeom prst="rect">
            <a:avLst/>
          </a:prstGeom>
        </p:spPr>
      </p:pic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29D95539-14F0-7D41-8974-B2E9D64227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52" t="-1602" r="62206" b="78438"/>
          <a:stretch/>
        </p:blipFill>
        <p:spPr>
          <a:xfrm>
            <a:off x="6388462" y="2022077"/>
            <a:ext cx="469541" cy="154200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41D6703-C547-7643-8963-A4855F07BE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135FDA83-93E7-814A-8E75-BADD46FFA3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7519696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3" name="Picture 12" descr="Icon&#10;&#10;Description automatically generated with medium confidence">
            <a:extLst>
              <a:ext uri="{FF2B5EF4-FFF2-40B4-BE49-F238E27FC236}">
                <a16:creationId xmlns:a16="http://schemas.microsoft.com/office/drawing/2014/main" id="{0128B2B5-82A1-3448-BFB7-CF2B82325B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3718" b="386"/>
          <a:stretch/>
        </p:blipFill>
        <p:spPr>
          <a:xfrm>
            <a:off x="5622133" y="1868593"/>
            <a:ext cx="1235869" cy="688886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A7DE922-6484-7F42-B8C8-EADA73FE239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7AD0AC13-DFCD-AC47-90BE-7A7D8C05662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9238434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Icon&#10;&#10;Description automatically generated">
            <a:extLst>
              <a:ext uri="{FF2B5EF4-FFF2-40B4-BE49-F238E27FC236}">
                <a16:creationId xmlns:a16="http://schemas.microsoft.com/office/drawing/2014/main" id="{08281AF6-71F5-1F4F-A5CF-FDB80397FFE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4883" y="1571107"/>
            <a:ext cx="1034471" cy="7185545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E3ED509-1B5D-DC4C-B89C-8007004D0E1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0B48914C-2D4C-2446-98B4-5E029602CB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5633949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C0347639-ACB8-C24F-86BB-2DC198FE7A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48" r="32236"/>
          <a:stretch/>
        </p:blipFill>
        <p:spPr>
          <a:xfrm>
            <a:off x="6102044" y="2385760"/>
            <a:ext cx="755957" cy="1149236"/>
          </a:xfrm>
          <a:prstGeom prst="rect">
            <a:avLst/>
          </a:prstGeom>
        </p:spPr>
      </p:pic>
      <p:pic>
        <p:nvPicPr>
          <p:cNvPr id="10" name="Picture 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BEAAD61F-F912-384C-944A-CB4FF1C00E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85"/>
          <a:stretch/>
        </p:blipFill>
        <p:spPr>
          <a:xfrm>
            <a:off x="6446912" y="1807096"/>
            <a:ext cx="300038" cy="564110"/>
          </a:xfrm>
          <a:prstGeom prst="rect">
            <a:avLst/>
          </a:prstGeom>
        </p:spPr>
      </p:pic>
      <p:pic>
        <p:nvPicPr>
          <p:cNvPr id="14" name="Picture 13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C4C5B6C6-95F3-214E-958A-6FEF1CEFBA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" t="-325" r="58022" b="627"/>
          <a:stretch/>
        </p:blipFill>
        <p:spPr>
          <a:xfrm>
            <a:off x="5955941" y="4276908"/>
            <a:ext cx="902061" cy="448055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7030652-A3F9-E74F-9F4D-18332E0648D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5CFA8A31-CCB9-F249-8FCC-5B4C1F73EB3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6897498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07560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A picture containing window, building&#10;&#10;Description automatically generated">
            <a:extLst>
              <a:ext uri="{FF2B5EF4-FFF2-40B4-BE49-F238E27FC236}">
                <a16:creationId xmlns:a16="http://schemas.microsoft.com/office/drawing/2014/main" id="{0755F79C-25F9-C243-A264-E04EFC41F9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792"/>
          <a:stretch/>
        </p:blipFill>
        <p:spPr>
          <a:xfrm>
            <a:off x="5907234" y="2312217"/>
            <a:ext cx="950769" cy="3448512"/>
          </a:xfrm>
          <a:prstGeom prst="rect">
            <a:avLst/>
          </a:prstGeom>
        </p:spPr>
      </p:pic>
      <p:pic>
        <p:nvPicPr>
          <p:cNvPr id="15" name="Picture 14" descr="A picture containing icon&#10;&#10;Description automatically generated">
            <a:extLst>
              <a:ext uri="{FF2B5EF4-FFF2-40B4-BE49-F238E27FC236}">
                <a16:creationId xmlns:a16="http://schemas.microsoft.com/office/drawing/2014/main" id="{B9E4F544-13FE-4749-90A6-1A6FDB204A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536" t="-4489" r="40379" b="-1"/>
          <a:stretch/>
        </p:blipFill>
        <p:spPr>
          <a:xfrm>
            <a:off x="5392560" y="4273667"/>
            <a:ext cx="1465442" cy="451612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20D2115-FD71-8A43-A626-1888D776010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3A204263-3063-0549-8048-8A97E14589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1061594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254D66C8-1FFE-E54B-850C-848AD03BFB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53" r="53883"/>
          <a:stretch/>
        </p:blipFill>
        <p:spPr>
          <a:xfrm>
            <a:off x="5955912" y="3180110"/>
            <a:ext cx="902091" cy="5600794"/>
          </a:xfrm>
          <a:prstGeom prst="rect">
            <a:avLst/>
          </a:prstGeom>
        </p:spPr>
      </p:pic>
      <p:pic>
        <p:nvPicPr>
          <p:cNvPr id="14" name="Picture 13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E9CB234-D20A-924A-BDF2-518C78FBE0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52" t="-1602" r="62206" b="78438"/>
          <a:stretch/>
        </p:blipFill>
        <p:spPr>
          <a:xfrm>
            <a:off x="6388462" y="2022077"/>
            <a:ext cx="469541" cy="154200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D3F28F2-8E5F-924B-8573-38B37FCB071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3AA3A209-835E-A04A-81CA-DA9FFF764C0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3752514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BC61A3AC-8C2C-494A-BB65-FB0C8E703E7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Icon&#10;&#10;Description automatically generated with medium confidence">
            <a:extLst>
              <a:ext uri="{FF2B5EF4-FFF2-40B4-BE49-F238E27FC236}">
                <a16:creationId xmlns:a16="http://schemas.microsoft.com/office/drawing/2014/main" id="{AB280D7A-EF33-4644-968C-D30835E77E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3718" b="386"/>
          <a:stretch/>
        </p:blipFill>
        <p:spPr>
          <a:xfrm>
            <a:off x="5622133" y="1868593"/>
            <a:ext cx="1235869" cy="6888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66223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2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Picture 10" descr="Icon&#10;&#10;Description automatically generated">
            <a:extLst>
              <a:ext uri="{FF2B5EF4-FFF2-40B4-BE49-F238E27FC236}">
                <a16:creationId xmlns:a16="http://schemas.microsoft.com/office/drawing/2014/main" id="{CC5F6D90-6C63-A04F-86C2-AA526733194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4883" y="1571107"/>
            <a:ext cx="1034471" cy="7185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51920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2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97C55C66-D2CE-6642-81CA-049497B833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48" r="32236"/>
          <a:stretch/>
        </p:blipFill>
        <p:spPr>
          <a:xfrm>
            <a:off x="6102044" y="2385760"/>
            <a:ext cx="755957" cy="1149236"/>
          </a:xfrm>
          <a:prstGeom prst="rect">
            <a:avLst/>
          </a:prstGeom>
        </p:spPr>
      </p:pic>
      <p:pic>
        <p:nvPicPr>
          <p:cNvPr id="9" name="Picture 8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E8C54222-97E6-AD40-96B7-899B9B9187B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85"/>
          <a:stretch/>
        </p:blipFill>
        <p:spPr>
          <a:xfrm>
            <a:off x="6446912" y="1807096"/>
            <a:ext cx="300038" cy="564110"/>
          </a:xfrm>
          <a:prstGeom prst="rect">
            <a:avLst/>
          </a:prstGeom>
        </p:spPr>
      </p:pic>
      <p:pic>
        <p:nvPicPr>
          <p:cNvPr id="10" name="Picture 9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063B7AC5-65BE-2C4D-9D6A-B125A59C31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" t="-325" r="58022" b="627"/>
          <a:stretch/>
        </p:blipFill>
        <p:spPr>
          <a:xfrm>
            <a:off x="5955941" y="4276908"/>
            <a:ext cx="902061" cy="4480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40429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2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Picture 10" descr="A picture containing window, building&#10;&#10;Description automatically generated">
            <a:extLst>
              <a:ext uri="{FF2B5EF4-FFF2-40B4-BE49-F238E27FC236}">
                <a16:creationId xmlns:a16="http://schemas.microsoft.com/office/drawing/2014/main" id="{5A382068-DF6F-7540-BAEA-33BEC6FE1B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792"/>
          <a:stretch/>
        </p:blipFill>
        <p:spPr>
          <a:xfrm>
            <a:off x="5907234" y="2312217"/>
            <a:ext cx="950769" cy="3448512"/>
          </a:xfrm>
          <a:prstGeom prst="rect">
            <a:avLst/>
          </a:prstGeom>
        </p:spPr>
      </p:pic>
      <p:pic>
        <p:nvPicPr>
          <p:cNvPr id="12" name="Picture 11" descr="A picture containing icon&#10;&#10;Description automatically generated">
            <a:extLst>
              <a:ext uri="{FF2B5EF4-FFF2-40B4-BE49-F238E27FC236}">
                <a16:creationId xmlns:a16="http://schemas.microsoft.com/office/drawing/2014/main" id="{DC6A4A51-DFE2-4643-A79B-E61A283E58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536" t="-4489" r="40379" b="-1"/>
          <a:stretch/>
        </p:blipFill>
        <p:spPr>
          <a:xfrm>
            <a:off x="5392560" y="4273667"/>
            <a:ext cx="1465442" cy="4516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2271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2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A893435-86FB-F441-A795-2B71DF76C6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53" r="53883"/>
          <a:stretch/>
        </p:blipFill>
        <p:spPr>
          <a:xfrm>
            <a:off x="5955912" y="3180110"/>
            <a:ext cx="902091" cy="5600794"/>
          </a:xfrm>
          <a:prstGeom prst="rect">
            <a:avLst/>
          </a:prstGeom>
        </p:spPr>
      </p:pic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42FD914-B426-3C48-A32C-AA65D19904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52" t="-1602" r="62206" b="78438"/>
          <a:stretch/>
        </p:blipFill>
        <p:spPr>
          <a:xfrm>
            <a:off x="6388462" y="2022077"/>
            <a:ext cx="469541" cy="1542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98647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2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Picture 10" descr="Icon&#10;&#10;Description automatically generated with medium confidence">
            <a:extLst>
              <a:ext uri="{FF2B5EF4-FFF2-40B4-BE49-F238E27FC236}">
                <a16:creationId xmlns:a16="http://schemas.microsoft.com/office/drawing/2014/main" id="{6AB402DA-56C6-AA43-8828-19A7125852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3718" b="386"/>
          <a:stretch/>
        </p:blipFill>
        <p:spPr>
          <a:xfrm>
            <a:off x="5622133" y="1868593"/>
            <a:ext cx="1235869" cy="6888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32394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CBF80B-70C0-DE40-9B2F-11B0C84DE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8238" y="0"/>
            <a:ext cx="6242585" cy="1137920"/>
          </a:xfrm>
        </p:spPr>
        <p:txBody>
          <a:bodyPr anchor="ctr" anchorCtr="0">
            <a:noAutofit/>
          </a:bodyPr>
          <a:lstStyle>
            <a:lvl1pPr>
              <a:defRPr sz="2205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7A4202-570D-7B4E-89D8-28EF648D00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endParaRPr lang="en-US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839AEEFF-49A6-CA4B-BB32-9BA60B1AB30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07709" y="1593097"/>
            <a:ext cx="6243111" cy="704088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02238957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07FD818D-191E-4F44-8E94-ABAA037BD212}"/>
              </a:ext>
            </a:extLst>
          </p:cNvPr>
          <p:cNvSpPr/>
          <p:nvPr userDrawn="1"/>
        </p:nvSpPr>
        <p:spPr bwMode="auto">
          <a:xfrm>
            <a:off x="828104" y="960120"/>
            <a:ext cx="519494" cy="1292962"/>
          </a:xfrm>
          <a:prstGeom prst="ellips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20163" bIns="20163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00809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44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PTITLE">
            <a:extLst>
              <a:ext uri="{FF2B5EF4-FFF2-40B4-BE49-F238E27FC236}">
                <a16:creationId xmlns:a16="http://schemas.microsoft.com/office/drawing/2014/main" id="{F4A6EB66-C643-EE4A-9275-461B7AA287A7}"/>
              </a:ext>
            </a:extLst>
          </p:cNvPr>
          <p:cNvSpPr>
            <a:spLocks noGrp="1" noChangeArrowheads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1478632" y="902531"/>
            <a:ext cx="2615597" cy="1438086"/>
          </a:xfrm>
          <a:prstGeom prst="rect">
            <a:avLst/>
          </a:prstGeom>
          <a:ln algn="ctr"/>
        </p:spPr>
        <p:txBody>
          <a:bodyPr wrap="square" lIns="0" tIns="0" rIns="0" bIns="0" anchor="ctr">
            <a:spAutoFit/>
          </a:bodyPr>
          <a:lstStyle>
            <a:lvl1pPr>
              <a:lnSpc>
                <a:spcPct val="100000"/>
              </a:lnSpc>
              <a:defRPr sz="3115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Divider Slide Title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88C367-D4F0-B04D-A598-A83BE1F8E0A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64397" y="924569"/>
            <a:ext cx="442913" cy="126460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292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0045707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B26B84C-55CA-EE4F-8980-930C5FC90F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1073" y="2351405"/>
            <a:ext cx="3504010" cy="5951184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74547A36-015A-7E4F-BAA2-B6DAF1129B64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908FB5FA-1F33-6741-91B4-BA3982565AC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4C97A00-CF03-7F4C-BDCC-240AF2EF9E5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40EC43F-F4FB-BE49-A897-7EC3619D66D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543970AC-FB34-B54D-AEC8-13E886D02C5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2926023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965C9EE8-A82D-8B48-9FD8-7B0CF910CBB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2014" y="4737343"/>
            <a:ext cx="5250107" cy="2884052"/>
          </a:xfrm>
        </p:spPr>
        <p:txBody>
          <a:bodyPr anchor="t">
            <a:noAutofit/>
          </a:bodyPr>
          <a:lstStyle>
            <a:lvl1pPr algn="l">
              <a:defRPr sz="7644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F686FBAA-8840-BB49-8DB3-36925FD1C5B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2014" y="7979664"/>
            <a:ext cx="5303446" cy="802749"/>
          </a:xfrm>
        </p:spPr>
        <p:txBody>
          <a:bodyPr anchor="t">
            <a:normAutofit/>
          </a:bodyPr>
          <a:lstStyle>
            <a:lvl1pPr marL="0" indent="0" algn="l">
              <a:buNone/>
              <a:defRPr sz="1985">
                <a:solidFill>
                  <a:schemeClr val="bg1"/>
                </a:solidFill>
              </a:defRPr>
            </a:lvl1pPr>
            <a:lvl2pPr marL="378018" indent="0" algn="ctr">
              <a:buNone/>
              <a:defRPr sz="1653"/>
            </a:lvl2pPr>
            <a:lvl3pPr marL="756038" indent="0" algn="ctr">
              <a:buNone/>
              <a:defRPr sz="1490"/>
            </a:lvl3pPr>
            <a:lvl4pPr marL="1134057" indent="0" algn="ctr">
              <a:buNone/>
              <a:defRPr sz="1323"/>
            </a:lvl4pPr>
            <a:lvl5pPr marL="1512077" indent="0" algn="ctr">
              <a:buNone/>
              <a:defRPr sz="1323"/>
            </a:lvl5pPr>
            <a:lvl6pPr marL="1890097" indent="0" algn="ctr">
              <a:buNone/>
              <a:defRPr sz="1323"/>
            </a:lvl6pPr>
            <a:lvl7pPr marL="2268113" indent="0" algn="ctr">
              <a:buNone/>
              <a:defRPr sz="1323"/>
            </a:lvl7pPr>
            <a:lvl8pPr marL="2646133" indent="0" algn="ctr">
              <a:buNone/>
              <a:defRPr sz="1323"/>
            </a:lvl8pPr>
            <a:lvl9pPr marL="3024153" indent="0" algn="ctr">
              <a:buNone/>
              <a:defRPr sz="1323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EB17DC4-A61D-4EAF-B65E-78495FD857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858000" cy="960120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4F6DF7C-3D05-4715-9DDF-81D51EDD6D99}"/>
              </a:ext>
            </a:extLst>
          </p:cNvPr>
          <p:cNvCxnSpPr>
            <a:cxnSpLocks/>
          </p:cNvCxnSpPr>
          <p:nvPr userDrawn="1"/>
        </p:nvCxnSpPr>
        <p:spPr>
          <a:xfrm>
            <a:off x="365760" y="4270246"/>
            <a:ext cx="2441448" cy="0"/>
          </a:xfrm>
          <a:prstGeom prst="line">
            <a:avLst/>
          </a:prstGeom>
          <a:ln w="50800">
            <a:solidFill>
              <a:schemeClr val="bg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676C9382-B3F0-4998-B4CA-778BC6FC114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03478" y="810124"/>
            <a:ext cx="1158125" cy="1495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85198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4" name="Picture 3" descr="A person and person sitting at a table&#10;&#10;Description automatically generated with low confidence">
            <a:extLst>
              <a:ext uri="{FF2B5EF4-FFF2-40B4-BE49-F238E27FC236}">
                <a16:creationId xmlns:a16="http://schemas.microsoft.com/office/drawing/2014/main" id="{CD7A90E9-93DB-E242-9EE5-25073AAC12D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5393" y="1954840"/>
            <a:ext cx="3300212" cy="6486221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0FB04D65-2AB6-BB46-900D-499E25F6399F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DF75F0E1-FF52-4F47-8D31-2F91FA90FA68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08D9FD7-3B6B-A642-B69C-5E0D6848D72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DF891E3-C50C-3045-8D5B-FAC7DE9D89A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BFA8B594-C762-C049-BA5A-97A4231ECB6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0348160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E751C71E-69DD-8548-8A03-A95195FC12F4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0145D153-4259-C442-A60B-877B687AA0B4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36AD6D6-44CC-8040-8106-98BCE69F6449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20" name="Picture 1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A2D5806E-A8F3-1F4D-82FA-4F558AFEEC6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1056" y="2321169"/>
            <a:ext cx="3530411" cy="6106551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158263E-7ED4-DD4B-8B85-2217C17E8C3A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4489ECC-72A6-FD4C-A90E-971EA795D5C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3586127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4" name="Picture 3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D6DF272A-DFA2-CA48-A33F-A2930A3AA68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8210" y="1938026"/>
            <a:ext cx="3313388" cy="6663055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12A48CC2-0DE3-744A-80BC-8F496E076C99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7F619E19-7687-774F-9736-E8F8B3CE929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F67E747-BF57-1841-BC64-60990BB5EB0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6341B48-CB55-7643-9146-504AC38BF2F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BA5D2C38-EDC8-3345-88F7-3F26677064A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8537989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375DA427-734E-4542-89D3-EEAC4992690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048" y="407182"/>
            <a:ext cx="2085975" cy="2684780"/>
          </a:xfrm>
          <a:prstGeom prst="rect">
            <a:avLst/>
          </a:prstGeom>
        </p:spPr>
      </p:pic>
      <p:sp>
        <p:nvSpPr>
          <p:cNvPr id="12" name="PTITLE">
            <a:extLst>
              <a:ext uri="{FF2B5EF4-FFF2-40B4-BE49-F238E27FC236}">
                <a16:creationId xmlns:a16="http://schemas.microsoft.com/office/drawing/2014/main" id="{F3B82A13-6E5D-584F-BA84-DD3A3448B1A1}"/>
              </a:ext>
            </a:extLst>
          </p:cNvPr>
          <p:cNvSpPr>
            <a:spLocks noGrp="1" noChangeArrowheads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3768473" y="1052897"/>
            <a:ext cx="2820606" cy="1438086"/>
          </a:xfrm>
          <a:prstGeom prst="rect">
            <a:avLst/>
          </a:prstGeom>
          <a:ln algn="ctr"/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defRPr sz="3115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Enter Presentation Title Here</a:t>
            </a:r>
          </a:p>
        </p:txBody>
      </p:sp>
      <p:sp>
        <p:nvSpPr>
          <p:cNvPr id="13" name="PSUBTITLE">
            <a:extLst>
              <a:ext uri="{FF2B5EF4-FFF2-40B4-BE49-F238E27FC236}">
                <a16:creationId xmlns:a16="http://schemas.microsoft.com/office/drawing/2014/main" id="{EB7B88A3-E630-154E-8629-22F04CBF9A05}"/>
              </a:ext>
            </a:extLst>
          </p:cNvPr>
          <p:cNvSpPr>
            <a:spLocks noGrp="1" noChangeArrowheads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3768473" y="2712058"/>
            <a:ext cx="2815209" cy="814325"/>
          </a:xfrm>
          <a:prstGeom prst="rect">
            <a:avLst/>
          </a:prstGeom>
        </p:spPr>
        <p:txBody>
          <a:bodyPr wrap="square" lIns="18288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876"/>
              </a:spcBef>
              <a:buClr>
                <a:schemeClr val="tx2"/>
              </a:buClr>
              <a:buSzTx/>
              <a:buFont typeface="Wingdings" pitchFamily="2" charset="2"/>
              <a:buNone/>
              <a:defRPr sz="2646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962444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36022C7-4E0C-634C-8EA4-E25F7D17CEB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491" y="2106936"/>
            <a:ext cx="3373636" cy="6275664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6CCB1D9A-C04F-1D46-B01F-25E830C460FD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7E1DBCD0-262A-9B4B-A202-A0484C1A7AA8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816EC32-037D-E148-920B-B6B9C0BA59CE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07F2ABA-46AC-5846-A87F-1B0C07DF928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6A878E25-72EB-6E4F-88FB-450C426912A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2843752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13" name="Picture 12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3246AED4-C5D7-744C-9285-5271D768C68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9997" y="2000256"/>
            <a:ext cx="3307782" cy="6547485"/>
          </a:xfrm>
          <a:prstGeom prst="rect">
            <a:avLst/>
          </a:prstGeom>
        </p:spPr>
      </p:pic>
      <p:sp>
        <p:nvSpPr>
          <p:cNvPr id="15" name="SUBTITLE">
            <a:extLst>
              <a:ext uri="{FF2B5EF4-FFF2-40B4-BE49-F238E27FC236}">
                <a16:creationId xmlns:a16="http://schemas.microsoft.com/office/drawing/2014/main" id="{C700CA76-1402-B04D-A5F4-59137397F33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712270B3-06B2-124E-89A0-389B22EE271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291EECB-33F1-774B-9367-105EC058517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5E58BEC-0C7F-2844-A1C5-F460D474FB5F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E6F2B0C6-B1E0-DA4B-BC8E-04C5527B498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8025258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6" name="Picture 5" descr="A picture containing text, vector graphics&#10;&#10;Description automatically generated">
            <a:extLst>
              <a:ext uri="{FF2B5EF4-FFF2-40B4-BE49-F238E27FC236}">
                <a16:creationId xmlns:a16="http://schemas.microsoft.com/office/drawing/2014/main" id="{812C280E-BCC1-694E-8311-E388CD071BF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0351" y="2196845"/>
            <a:ext cx="3650456" cy="6368670"/>
          </a:xfrm>
          <a:prstGeom prst="rect">
            <a:avLst/>
          </a:prstGeom>
        </p:spPr>
      </p:pic>
      <p:sp>
        <p:nvSpPr>
          <p:cNvPr id="15" name="SUBTITLE">
            <a:extLst>
              <a:ext uri="{FF2B5EF4-FFF2-40B4-BE49-F238E27FC236}">
                <a16:creationId xmlns:a16="http://schemas.microsoft.com/office/drawing/2014/main" id="{E9FA6826-A7DE-AF4C-B064-5C0EF3E88168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65799A06-E165-5E4D-AD06-5147E2952E3E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267099F-5424-0542-B5F2-A9666C380755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216228E-91EE-8B47-A1DD-BBCCFB163FB0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DEE6C93A-7981-DB43-9B20-8EC15CA7236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5950170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572FC43F-47A3-C74B-9D80-9114C3C975A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5012" y="2093595"/>
            <a:ext cx="3226016" cy="6560820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15F3F329-EB0F-BA44-BD7D-DEF3771EB3C4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57D66653-6AB4-4741-92DD-CCB67AE1BAFA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3EFABD2-FB45-DF41-8952-3876CC976482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7E974D6-1C7B-204A-B803-BEE774AEB095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C6FB52EA-4D0B-8849-9D44-7B7677CF1F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6314994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4" name="Picture 3" descr="A picture containing bedroom&#10;&#10;Description automatically generated">
            <a:extLst>
              <a:ext uri="{FF2B5EF4-FFF2-40B4-BE49-F238E27FC236}">
                <a16:creationId xmlns:a16="http://schemas.microsoft.com/office/drawing/2014/main" id="{16A213DA-5018-A348-A2E6-EA4AC1E8E3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1407"/>
          <a:stretch/>
        </p:blipFill>
        <p:spPr>
          <a:xfrm>
            <a:off x="2846785" y="2115825"/>
            <a:ext cx="3378994" cy="6413032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DB5D7591-2B4F-4C40-A9A6-2577DFCFC49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753F9D1B-43EA-4B45-96B2-8F0AA75C84CA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C8F8380-77EE-3440-96B8-B5BD10FFD7F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81BE6AD-51A9-6849-AE16-0E81937D2D6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E5002B3E-358D-9D4B-923F-4A9B00853F3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1805559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 descr="A person pushing a person in a wheelchair&#10;&#10;Description automatically generated with medium confidence">
            <a:extLst>
              <a:ext uri="{FF2B5EF4-FFF2-40B4-BE49-F238E27FC236}">
                <a16:creationId xmlns:a16="http://schemas.microsoft.com/office/drawing/2014/main" id="{C2BB09E2-412A-8843-BF63-02FA4DC1AE2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9648" y="1929134"/>
            <a:ext cx="3220078" cy="6551931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57C7A60A-EA51-1441-A2C7-FC0C8DC97FCB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3C5E8E72-0225-0440-94F9-103F3E13D952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43DE48B-6A69-1548-A93A-6890580DD7F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E9AF25F-BEFC-E948-A3F4-54212E13B3C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43ACEC71-69C8-1342-A41B-96C12DB19EB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5813552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BA77DD56-CF2D-7143-A269-17CD1CDF1486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1" name="CONTENT_BODY">
            <a:extLst>
              <a:ext uri="{FF2B5EF4-FFF2-40B4-BE49-F238E27FC236}">
                <a16:creationId xmlns:a16="http://schemas.microsoft.com/office/drawing/2014/main" id="{5CF8FE1B-8254-3045-AD7C-359A1EA50C00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ACCDD8A-7501-684E-82AC-FE12D8BBEC41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66C7207C-A2E3-9047-A798-273D4A4115A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5405" y="1866902"/>
            <a:ext cx="3204650" cy="6848972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52F8906-57CC-3F4B-BA86-4D49E40C4285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97545CEB-AA76-114C-B8BB-EED295A6A02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7065874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B26B84C-55CA-EE4F-8980-930C5FC90F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396" y="2391410"/>
            <a:ext cx="3504010" cy="5951184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06CC4D0-5556-D84E-A8A7-3B6ED4814D49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A4440AE9-9FBF-5C48-8966-17A3A54ED8B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1809852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A person and person sitting at a table&#10;&#10;Description automatically generated with low confidence">
            <a:extLst>
              <a:ext uri="{FF2B5EF4-FFF2-40B4-BE49-F238E27FC236}">
                <a16:creationId xmlns:a16="http://schemas.microsoft.com/office/drawing/2014/main" id="{9839DB6C-11F2-0940-A9F0-202160AD698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580" y="1954840"/>
            <a:ext cx="3300212" cy="6486221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F36FB9A9-9207-EF4D-BD99-BF4EDC2BA164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DCE9D31-06F5-C843-9DC1-1FF9A025E05E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1E406DC6-6CB1-5F4F-AE73-60E7952124B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8467172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20D0C946-5ADD-8B41-B649-6925D550BC8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837" y="2321169"/>
            <a:ext cx="3530411" cy="6106551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84FCA277-348C-5C42-918C-26627AE47FF2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E218AA5-BD09-1E49-89F7-C6241D7AD229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3957676-6A42-1743-B957-6E78550BE19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942005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07FD818D-191E-4F44-8E94-ABAA037BD212}"/>
              </a:ext>
            </a:extLst>
          </p:cNvPr>
          <p:cNvSpPr/>
          <p:nvPr/>
        </p:nvSpPr>
        <p:spPr bwMode="auto">
          <a:xfrm>
            <a:off x="828104" y="960120"/>
            <a:ext cx="519494" cy="1292962"/>
          </a:xfrm>
          <a:prstGeom prst="ellips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20163" bIns="20163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00815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44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PTITLE">
            <a:extLst>
              <a:ext uri="{FF2B5EF4-FFF2-40B4-BE49-F238E27FC236}">
                <a16:creationId xmlns:a16="http://schemas.microsoft.com/office/drawing/2014/main" id="{F4A6EB66-C643-EE4A-9275-461B7AA287A7}"/>
              </a:ext>
            </a:extLst>
          </p:cNvPr>
          <p:cNvSpPr>
            <a:spLocks noGrp="1" noChangeArrowheads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1478632" y="902528"/>
            <a:ext cx="2615597" cy="1438086"/>
          </a:xfrm>
          <a:prstGeom prst="rect">
            <a:avLst/>
          </a:prstGeom>
          <a:ln algn="ctr"/>
        </p:spPr>
        <p:txBody>
          <a:bodyPr wrap="square" lIns="0" tIns="0" rIns="0" bIns="0" anchor="ctr">
            <a:spAutoFit/>
          </a:bodyPr>
          <a:lstStyle>
            <a:lvl1pPr>
              <a:lnSpc>
                <a:spcPct val="100000"/>
              </a:lnSpc>
              <a:defRPr sz="3115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Divider Slide Title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88C367-D4F0-B04D-A598-A83BE1F8E0A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64397" y="924565"/>
            <a:ext cx="442913" cy="126460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292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28863781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7A864146-6CCE-9A4A-84BA-B6BCDAF5D30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131" y="1938026"/>
            <a:ext cx="3313388" cy="6663055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5BE26645-9E7A-F548-B39E-AD1776B7626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604E142-6BB1-BA4F-9634-9340B6077CF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EE63458E-6241-1340-AA06-D6280B5A500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823443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DE5459C2-4B47-8440-B7B9-578E698F5D7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128" y="2106936"/>
            <a:ext cx="3373636" cy="6275664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B9775042-0EAD-924F-A799-62789C37D750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706CFE3-CD00-984B-B662-4F7D04634BB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6F725BDE-5F05-C14C-AF44-FB1BDBF8E31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5860508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B0877346-9DC8-0343-9DCE-804A59167A3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771" y="2000256"/>
            <a:ext cx="3307782" cy="6547485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56F0E052-93EF-3643-BCDC-4906B91EAD5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5238120-D557-4244-88A0-C3D6FDEA8CE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E986EC7-CC70-854E-9AEC-20907FA1E17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42048164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 descr="A picture containing text, vector graphics&#10;&#10;Description automatically generated">
            <a:extLst>
              <a:ext uri="{FF2B5EF4-FFF2-40B4-BE49-F238E27FC236}">
                <a16:creationId xmlns:a16="http://schemas.microsoft.com/office/drawing/2014/main" id="{DB8F2F09-0FE3-4A4F-ACA6-7F81E8B8E3C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968" y="2196845"/>
            <a:ext cx="3650456" cy="6368670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5BDDD7F7-2303-2144-AC89-7933313B61C2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F71A0F5-4117-5E48-AEC2-8DB22FB6580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35D38590-BB10-9248-96D4-51B85870E6F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4211984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2" name="Picture 11" descr="A picture containing bedroom&#10;&#10;Description automatically generated">
            <a:extLst>
              <a:ext uri="{FF2B5EF4-FFF2-40B4-BE49-F238E27FC236}">
                <a16:creationId xmlns:a16="http://schemas.microsoft.com/office/drawing/2014/main" id="{A4C46BDA-DDCE-F945-B5A5-9BFF86253E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1407"/>
          <a:stretch/>
        </p:blipFill>
        <p:spPr>
          <a:xfrm>
            <a:off x="371476" y="2115825"/>
            <a:ext cx="3378994" cy="6413032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F426D2B8-6A2C-0F42-A33E-2F8DEC900B9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74C9DAF-C0E9-6846-B2F8-20B3333F4A60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E134E39-4866-EC4C-83A0-B1EC1557109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2945374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A person pushing a person in a wheelchair&#10;&#10;Description automatically generated with medium confidence">
            <a:extLst>
              <a:ext uri="{FF2B5EF4-FFF2-40B4-BE49-F238E27FC236}">
                <a16:creationId xmlns:a16="http://schemas.microsoft.com/office/drawing/2014/main" id="{80EEB071-ACF4-BF4B-9446-07CBF0CF71A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633" y="1929134"/>
            <a:ext cx="3220078" cy="6551931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DE095F98-09C4-5D45-8067-131EB41A2A14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877E37E-479B-EC4D-8F04-16D51705606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D61C570-0340-954F-9484-FB0A64EA9B2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5326619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6A913BD2-E033-F440-A59D-9342F474207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380" y="1866902"/>
            <a:ext cx="3204650" cy="6848972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06BA9F2C-3AFE-8E44-A4FA-47B2B89B4446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5ACA424-3199-A14F-92C8-A844C7A91B8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521D3765-BB43-7C43-8981-4C0DA1D597E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3904115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A picture containing text&#10;&#10;Description automatically generated">
            <a:extLst>
              <a:ext uri="{FF2B5EF4-FFF2-40B4-BE49-F238E27FC236}">
                <a16:creationId xmlns:a16="http://schemas.microsoft.com/office/drawing/2014/main" id="{28B037F3-E995-E146-ADA1-7DDFCF9C891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271" y="2093595"/>
            <a:ext cx="3226016" cy="6560820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E5FA3264-73E9-1E4E-8198-FF3FD2778C65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9FEFCC-25CE-3A4B-9369-7B3B7F8855A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1890F2F-F48E-BF47-B426-AC7C664FE54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8135943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3" name="Picture 12" descr="Icon&#10;&#10;Description automatically generated">
            <a:extLst>
              <a:ext uri="{FF2B5EF4-FFF2-40B4-BE49-F238E27FC236}">
                <a16:creationId xmlns:a16="http://schemas.microsoft.com/office/drawing/2014/main" id="{9BA565C6-4721-7341-BE63-E67036183FE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4882" y="1571105"/>
            <a:ext cx="1034471" cy="7185545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71EDBA7-8291-694D-A458-9595F81A169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BE2B5292-6F5F-3341-867F-0C9B0CD4AEE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8854889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7E67D680-12ED-824A-87EF-6791CFA1E5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48" r="32236"/>
          <a:stretch/>
        </p:blipFill>
        <p:spPr>
          <a:xfrm>
            <a:off x="6102044" y="2385753"/>
            <a:ext cx="755957" cy="1149235"/>
          </a:xfrm>
          <a:prstGeom prst="rect">
            <a:avLst/>
          </a:prstGeom>
        </p:spPr>
      </p:pic>
      <p:pic>
        <p:nvPicPr>
          <p:cNvPr id="10" name="Picture 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6C126D6A-DDDE-834A-B729-8C50F919F1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85"/>
          <a:stretch/>
        </p:blipFill>
        <p:spPr>
          <a:xfrm>
            <a:off x="6446911" y="1807096"/>
            <a:ext cx="300038" cy="564110"/>
          </a:xfrm>
          <a:prstGeom prst="rect">
            <a:avLst/>
          </a:prstGeom>
        </p:spPr>
      </p:pic>
      <p:pic>
        <p:nvPicPr>
          <p:cNvPr id="11" name="Picture 10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4AB055B6-38C0-B645-A119-8AC14F6B2C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" t="-325" r="58022" b="627"/>
          <a:stretch/>
        </p:blipFill>
        <p:spPr>
          <a:xfrm>
            <a:off x="5955941" y="4276903"/>
            <a:ext cx="902061" cy="448055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323FAE0-C312-F34A-A6E6-2C89A65B2CE1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EC166583-7A41-4041-803E-9B3C0754E4A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9015250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07FD818D-191E-4F44-8E94-ABAA037BD212}"/>
              </a:ext>
            </a:extLst>
          </p:cNvPr>
          <p:cNvSpPr/>
          <p:nvPr/>
        </p:nvSpPr>
        <p:spPr bwMode="auto">
          <a:xfrm>
            <a:off x="3771329" y="960120"/>
            <a:ext cx="519494" cy="1292962"/>
          </a:xfrm>
          <a:prstGeom prst="ellips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20163" bIns="20163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00815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44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PTITLE">
            <a:extLst>
              <a:ext uri="{FF2B5EF4-FFF2-40B4-BE49-F238E27FC236}">
                <a16:creationId xmlns:a16="http://schemas.microsoft.com/office/drawing/2014/main" id="{F4A6EB66-C643-EE4A-9275-461B7AA287A7}"/>
              </a:ext>
            </a:extLst>
          </p:cNvPr>
          <p:cNvSpPr>
            <a:spLocks noGrp="1" noChangeArrowheads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4421857" y="902528"/>
            <a:ext cx="2615597" cy="1438086"/>
          </a:xfrm>
          <a:prstGeom prst="rect">
            <a:avLst/>
          </a:prstGeom>
          <a:ln algn="ctr"/>
        </p:spPr>
        <p:txBody>
          <a:bodyPr wrap="square" lIns="0" tIns="0" rIns="0" bIns="0" anchor="ctr">
            <a:spAutoFit/>
          </a:bodyPr>
          <a:lstStyle>
            <a:lvl1pPr>
              <a:lnSpc>
                <a:spcPct val="100000"/>
              </a:lnSpc>
              <a:defRPr sz="3115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Divider Slide Title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88C367-D4F0-B04D-A598-A83BE1F8E0A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07622" y="938789"/>
            <a:ext cx="442913" cy="126460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292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88684238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A picture containing window, building&#10;&#10;Description automatically generated">
            <a:extLst>
              <a:ext uri="{FF2B5EF4-FFF2-40B4-BE49-F238E27FC236}">
                <a16:creationId xmlns:a16="http://schemas.microsoft.com/office/drawing/2014/main" id="{CB89B883-6AD8-B84D-B7F9-3A9757F16D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792"/>
          <a:stretch/>
        </p:blipFill>
        <p:spPr>
          <a:xfrm>
            <a:off x="5907232" y="2312216"/>
            <a:ext cx="950769" cy="3448512"/>
          </a:xfrm>
          <a:prstGeom prst="rect">
            <a:avLst/>
          </a:prstGeom>
        </p:spPr>
      </p:pic>
      <p:pic>
        <p:nvPicPr>
          <p:cNvPr id="13" name="Picture 12" descr="A picture containing icon&#10;&#10;Description automatically generated">
            <a:extLst>
              <a:ext uri="{FF2B5EF4-FFF2-40B4-BE49-F238E27FC236}">
                <a16:creationId xmlns:a16="http://schemas.microsoft.com/office/drawing/2014/main" id="{E2C3AEB5-ED5F-E84E-AD7A-898ACF65B4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536" t="-4489" r="40379" b="-1"/>
          <a:stretch/>
        </p:blipFill>
        <p:spPr>
          <a:xfrm>
            <a:off x="5392559" y="4273667"/>
            <a:ext cx="1465442" cy="451612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8C6848F-00AC-D549-8DED-3D587B4F72B6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9568B903-FC70-884E-9081-28161BF1EF5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57578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6F86EDC7-B97B-7D47-99B4-FB6B796F0F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53" r="53883"/>
          <a:stretch/>
        </p:blipFill>
        <p:spPr>
          <a:xfrm>
            <a:off x="5955912" y="3180103"/>
            <a:ext cx="902091" cy="5600792"/>
          </a:xfrm>
          <a:prstGeom prst="rect">
            <a:avLst/>
          </a:prstGeom>
        </p:spPr>
      </p:pic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29D95539-14F0-7D41-8974-B2E9D64227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52" t="-1602" r="62206" b="78438"/>
          <a:stretch/>
        </p:blipFill>
        <p:spPr>
          <a:xfrm>
            <a:off x="6388462" y="2022077"/>
            <a:ext cx="469541" cy="154200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41D6703-C547-7643-8963-A4855F07BE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135FDA83-93E7-814A-8E75-BADD46FFA3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9599069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3" name="Picture 12" descr="Icon&#10;&#10;Description automatically generated with medium confidence">
            <a:extLst>
              <a:ext uri="{FF2B5EF4-FFF2-40B4-BE49-F238E27FC236}">
                <a16:creationId xmlns:a16="http://schemas.microsoft.com/office/drawing/2014/main" id="{0128B2B5-82A1-3448-BFB7-CF2B82325B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3718" b="386"/>
          <a:stretch/>
        </p:blipFill>
        <p:spPr>
          <a:xfrm>
            <a:off x="5622133" y="1868591"/>
            <a:ext cx="1235869" cy="688886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A7DE922-6484-7F42-B8C8-EADA73FE239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7AD0AC13-DFCD-AC47-90BE-7A7D8C05662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9738625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Icon&#10;&#10;Description automatically generated">
            <a:extLst>
              <a:ext uri="{FF2B5EF4-FFF2-40B4-BE49-F238E27FC236}">
                <a16:creationId xmlns:a16="http://schemas.microsoft.com/office/drawing/2014/main" id="{08281AF6-71F5-1F4F-A5CF-FDB80397FFE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4882" y="1571105"/>
            <a:ext cx="1034471" cy="7185545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E3ED509-1B5D-DC4C-B89C-8007004D0E1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0B48914C-2D4C-2446-98B4-5E029602CB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5243894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C0347639-ACB8-C24F-86BB-2DC198FE7A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48" r="32236"/>
          <a:stretch/>
        </p:blipFill>
        <p:spPr>
          <a:xfrm>
            <a:off x="6102044" y="2385753"/>
            <a:ext cx="755957" cy="1149235"/>
          </a:xfrm>
          <a:prstGeom prst="rect">
            <a:avLst/>
          </a:prstGeom>
        </p:spPr>
      </p:pic>
      <p:pic>
        <p:nvPicPr>
          <p:cNvPr id="10" name="Picture 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BEAAD61F-F912-384C-944A-CB4FF1C00E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85"/>
          <a:stretch/>
        </p:blipFill>
        <p:spPr>
          <a:xfrm>
            <a:off x="6446911" y="1807096"/>
            <a:ext cx="300038" cy="564110"/>
          </a:xfrm>
          <a:prstGeom prst="rect">
            <a:avLst/>
          </a:prstGeom>
        </p:spPr>
      </p:pic>
      <p:pic>
        <p:nvPicPr>
          <p:cNvPr id="14" name="Picture 13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C4C5B6C6-95F3-214E-958A-6FEF1CEFBA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" t="-325" r="58022" b="627"/>
          <a:stretch/>
        </p:blipFill>
        <p:spPr>
          <a:xfrm>
            <a:off x="5955941" y="4276903"/>
            <a:ext cx="902061" cy="448055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7030652-A3F9-E74F-9F4D-18332E0648D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5CFA8A31-CCB9-F249-8FCC-5B4C1F73EB3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6929488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A picture containing window, building&#10;&#10;Description automatically generated">
            <a:extLst>
              <a:ext uri="{FF2B5EF4-FFF2-40B4-BE49-F238E27FC236}">
                <a16:creationId xmlns:a16="http://schemas.microsoft.com/office/drawing/2014/main" id="{0755F79C-25F9-C243-A264-E04EFC41F9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792"/>
          <a:stretch/>
        </p:blipFill>
        <p:spPr>
          <a:xfrm>
            <a:off x="5907232" y="2312216"/>
            <a:ext cx="950769" cy="3448512"/>
          </a:xfrm>
          <a:prstGeom prst="rect">
            <a:avLst/>
          </a:prstGeom>
        </p:spPr>
      </p:pic>
      <p:pic>
        <p:nvPicPr>
          <p:cNvPr id="15" name="Picture 14" descr="A picture containing icon&#10;&#10;Description automatically generated">
            <a:extLst>
              <a:ext uri="{FF2B5EF4-FFF2-40B4-BE49-F238E27FC236}">
                <a16:creationId xmlns:a16="http://schemas.microsoft.com/office/drawing/2014/main" id="{B9E4F544-13FE-4749-90A6-1A6FDB204A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536" t="-4489" r="40379" b="-1"/>
          <a:stretch/>
        </p:blipFill>
        <p:spPr>
          <a:xfrm>
            <a:off x="5392559" y="4273667"/>
            <a:ext cx="1465442" cy="451612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20D2115-FD71-8A43-A626-1888D776010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3A204263-3063-0549-8048-8A97E14589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7855774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254D66C8-1FFE-E54B-850C-848AD03BFB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53" r="53883"/>
          <a:stretch/>
        </p:blipFill>
        <p:spPr>
          <a:xfrm>
            <a:off x="5955912" y="3180103"/>
            <a:ext cx="902091" cy="5600792"/>
          </a:xfrm>
          <a:prstGeom prst="rect">
            <a:avLst/>
          </a:prstGeom>
        </p:spPr>
      </p:pic>
      <p:pic>
        <p:nvPicPr>
          <p:cNvPr id="14" name="Picture 13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E9CB234-D20A-924A-BDF2-518C78FBE0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52" t="-1602" r="62206" b="78438"/>
          <a:stretch/>
        </p:blipFill>
        <p:spPr>
          <a:xfrm>
            <a:off x="6388462" y="2022077"/>
            <a:ext cx="469541" cy="154200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D3F28F2-8E5F-924B-8573-38B37FCB071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3AA3A209-835E-A04A-81CA-DA9FFF764C0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1199677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BC61A3AC-8C2C-494A-BB65-FB0C8E703E7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Icon&#10;&#10;Description automatically generated with medium confidence">
            <a:extLst>
              <a:ext uri="{FF2B5EF4-FFF2-40B4-BE49-F238E27FC236}">
                <a16:creationId xmlns:a16="http://schemas.microsoft.com/office/drawing/2014/main" id="{AB280D7A-EF33-4644-968C-D30835E77E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3718" b="386"/>
          <a:stretch/>
        </p:blipFill>
        <p:spPr>
          <a:xfrm>
            <a:off x="5622133" y="1868591"/>
            <a:ext cx="1235869" cy="6888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34854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Picture 10" descr="Icon&#10;&#10;Description automatically generated">
            <a:extLst>
              <a:ext uri="{FF2B5EF4-FFF2-40B4-BE49-F238E27FC236}">
                <a16:creationId xmlns:a16="http://schemas.microsoft.com/office/drawing/2014/main" id="{CC5F6D90-6C63-A04F-86C2-AA526733194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4882" y="1571105"/>
            <a:ext cx="1034471" cy="7185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28905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97C55C66-D2CE-6642-81CA-049497B833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48" r="32236"/>
          <a:stretch/>
        </p:blipFill>
        <p:spPr>
          <a:xfrm>
            <a:off x="6102044" y="2385753"/>
            <a:ext cx="755957" cy="1149235"/>
          </a:xfrm>
          <a:prstGeom prst="rect">
            <a:avLst/>
          </a:prstGeom>
        </p:spPr>
      </p:pic>
      <p:pic>
        <p:nvPicPr>
          <p:cNvPr id="9" name="Picture 8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E8C54222-97E6-AD40-96B7-899B9B9187B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85"/>
          <a:stretch/>
        </p:blipFill>
        <p:spPr>
          <a:xfrm>
            <a:off x="6446911" y="1807096"/>
            <a:ext cx="300038" cy="564110"/>
          </a:xfrm>
          <a:prstGeom prst="rect">
            <a:avLst/>
          </a:prstGeom>
        </p:spPr>
      </p:pic>
      <p:pic>
        <p:nvPicPr>
          <p:cNvPr id="10" name="Picture 9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063B7AC5-65BE-2C4D-9D6A-B125A59C31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" t="-325" r="58022" b="627"/>
          <a:stretch/>
        </p:blipFill>
        <p:spPr>
          <a:xfrm>
            <a:off x="5955941" y="4276903"/>
            <a:ext cx="902061" cy="4480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19494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6450562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Picture 10" descr="A picture containing window, building&#10;&#10;Description automatically generated">
            <a:extLst>
              <a:ext uri="{FF2B5EF4-FFF2-40B4-BE49-F238E27FC236}">
                <a16:creationId xmlns:a16="http://schemas.microsoft.com/office/drawing/2014/main" id="{5A382068-DF6F-7540-BAEA-33BEC6FE1B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792"/>
          <a:stretch/>
        </p:blipFill>
        <p:spPr>
          <a:xfrm>
            <a:off x="5907232" y="2312216"/>
            <a:ext cx="950769" cy="3448512"/>
          </a:xfrm>
          <a:prstGeom prst="rect">
            <a:avLst/>
          </a:prstGeom>
        </p:spPr>
      </p:pic>
      <p:pic>
        <p:nvPicPr>
          <p:cNvPr id="12" name="Picture 11" descr="A picture containing icon&#10;&#10;Description automatically generated">
            <a:extLst>
              <a:ext uri="{FF2B5EF4-FFF2-40B4-BE49-F238E27FC236}">
                <a16:creationId xmlns:a16="http://schemas.microsoft.com/office/drawing/2014/main" id="{DC6A4A51-DFE2-4643-A79B-E61A283E58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536" t="-4489" r="40379" b="-1"/>
          <a:stretch/>
        </p:blipFill>
        <p:spPr>
          <a:xfrm>
            <a:off x="5392559" y="4273667"/>
            <a:ext cx="1465442" cy="4516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06425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A893435-86FB-F441-A795-2B71DF76C6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53" r="53883"/>
          <a:stretch/>
        </p:blipFill>
        <p:spPr>
          <a:xfrm>
            <a:off x="5955912" y="3180103"/>
            <a:ext cx="902091" cy="5600792"/>
          </a:xfrm>
          <a:prstGeom prst="rect">
            <a:avLst/>
          </a:prstGeom>
        </p:spPr>
      </p:pic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42FD914-B426-3C48-A32C-AA65D19904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52" t="-1602" r="62206" b="78438"/>
          <a:stretch/>
        </p:blipFill>
        <p:spPr>
          <a:xfrm>
            <a:off x="6388462" y="2022077"/>
            <a:ext cx="469541" cy="1542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92422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Picture 10" descr="Icon&#10;&#10;Description automatically generated with medium confidence">
            <a:extLst>
              <a:ext uri="{FF2B5EF4-FFF2-40B4-BE49-F238E27FC236}">
                <a16:creationId xmlns:a16="http://schemas.microsoft.com/office/drawing/2014/main" id="{6AB402DA-56C6-AA43-8828-19A7125852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3718" b="386"/>
          <a:stretch/>
        </p:blipFill>
        <p:spPr>
          <a:xfrm>
            <a:off x="5622133" y="1868591"/>
            <a:ext cx="1235869" cy="6888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4015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ivider Sli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07FD818D-191E-4F44-8E94-ABAA037BD212}"/>
              </a:ext>
            </a:extLst>
          </p:cNvPr>
          <p:cNvSpPr/>
          <p:nvPr/>
        </p:nvSpPr>
        <p:spPr bwMode="auto">
          <a:xfrm>
            <a:off x="828104" y="960120"/>
            <a:ext cx="519494" cy="1292962"/>
          </a:xfrm>
          <a:prstGeom prst="ellips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20163" bIns="20163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00815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44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PTITLE">
            <a:extLst>
              <a:ext uri="{FF2B5EF4-FFF2-40B4-BE49-F238E27FC236}">
                <a16:creationId xmlns:a16="http://schemas.microsoft.com/office/drawing/2014/main" id="{F4A6EB66-C643-EE4A-9275-461B7AA287A7}"/>
              </a:ext>
            </a:extLst>
          </p:cNvPr>
          <p:cNvSpPr>
            <a:spLocks noGrp="1" noChangeArrowheads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1478632" y="902528"/>
            <a:ext cx="2615597" cy="1438086"/>
          </a:xfrm>
          <a:prstGeom prst="rect">
            <a:avLst/>
          </a:prstGeom>
          <a:ln algn="ctr"/>
        </p:spPr>
        <p:txBody>
          <a:bodyPr wrap="square" lIns="0" tIns="0" rIns="0" bIns="0" anchor="ctr">
            <a:spAutoFit/>
          </a:bodyPr>
          <a:lstStyle>
            <a:lvl1pPr>
              <a:lnSpc>
                <a:spcPct val="100000"/>
              </a:lnSpc>
              <a:defRPr sz="3115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Divider Slide Title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88C367-D4F0-B04D-A598-A83BE1F8E0A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64397" y="924565"/>
            <a:ext cx="442913" cy="126460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292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36980549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E868177-6896-E849-8188-287BD2AA6653}"/>
              </a:ext>
            </a:extLst>
          </p:cNvPr>
          <p:cNvSpPr/>
          <p:nvPr/>
        </p:nvSpPr>
        <p:spPr>
          <a:xfrm>
            <a:off x="-3344" y="0"/>
            <a:ext cx="6858000" cy="1813090"/>
          </a:xfrm>
          <a:prstGeom prst="rect">
            <a:avLst/>
          </a:prstGeom>
          <a:solidFill>
            <a:srgbClr val="97298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9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0CBF80B-70C0-DE40-9B2F-11B0C84DE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7711" y="17915"/>
            <a:ext cx="6242585" cy="1795182"/>
          </a:xfrm>
        </p:spPr>
        <p:txBody>
          <a:bodyPr anchor="ctr" anchorCtr="0">
            <a:normAutofit/>
          </a:bodyPr>
          <a:lstStyle>
            <a:lvl1pPr>
              <a:defRPr sz="352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055E6F6-A378-CB41-AFB4-E61F1C4F09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7711" y="2293308"/>
            <a:ext cx="6242585" cy="6316509"/>
          </a:xfrm>
        </p:spPr>
        <p:txBody>
          <a:bodyPr>
            <a:normAutofit/>
          </a:bodyPr>
          <a:lstStyle>
            <a:lvl1pPr>
              <a:defRPr sz="2352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1962D300-E314-F649-8673-7BB17CD383A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71" y="9137078"/>
            <a:ext cx="137405" cy="341376"/>
          </a:xfrm>
          <a:prstGeom prst="rect">
            <a:avLst/>
          </a:prstGeom>
        </p:spPr>
      </p:pic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4D7F39F4-0AF2-3C4E-8CF1-6F1A4E6C8F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215255" y="9052184"/>
            <a:ext cx="1543050" cy="511175"/>
          </a:xfrm>
        </p:spPr>
        <p:txBody>
          <a:bodyPr/>
          <a:lstStyle>
            <a:lvl1pPr>
              <a:defRPr sz="1176"/>
            </a:lvl1pPr>
          </a:lstStyle>
          <a:p>
            <a:fld id="{41354390-517E-9640-AC9D-8AF08224213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1873399"/>
      </p:ext>
    </p:extLst>
  </p:cSld>
  <p:clrMapOvr>
    <a:masterClrMapping/>
  </p:clrMapOvr>
  <p:hf hd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2AF6B90-AC1D-9144-BDC5-CDF264934A8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858000" cy="9601200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965C9EE8-A82D-8B48-9FD8-7B0CF910CBB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2014" y="4737343"/>
            <a:ext cx="5250107" cy="2884052"/>
          </a:xfrm>
        </p:spPr>
        <p:txBody>
          <a:bodyPr anchor="t">
            <a:noAutofit/>
          </a:bodyPr>
          <a:lstStyle>
            <a:lvl1pPr algn="l">
              <a:defRPr sz="7644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F686FBAA-8840-BB49-8DB3-36925FD1C5B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2014" y="7979664"/>
            <a:ext cx="5303446" cy="802749"/>
          </a:xfrm>
        </p:spPr>
        <p:txBody>
          <a:bodyPr anchor="t">
            <a:normAutofit/>
          </a:bodyPr>
          <a:lstStyle>
            <a:lvl1pPr marL="0" indent="0" algn="l">
              <a:buNone/>
              <a:defRPr sz="1985">
                <a:solidFill>
                  <a:schemeClr val="bg1"/>
                </a:solidFill>
              </a:defRPr>
            </a:lvl1pPr>
            <a:lvl2pPr marL="378018" indent="0" algn="ctr">
              <a:buNone/>
              <a:defRPr sz="1653"/>
            </a:lvl2pPr>
            <a:lvl3pPr marL="756038" indent="0" algn="ctr">
              <a:buNone/>
              <a:defRPr sz="1490"/>
            </a:lvl3pPr>
            <a:lvl4pPr marL="1134057" indent="0" algn="ctr">
              <a:buNone/>
              <a:defRPr sz="1323"/>
            </a:lvl4pPr>
            <a:lvl5pPr marL="1512077" indent="0" algn="ctr">
              <a:buNone/>
              <a:defRPr sz="1323"/>
            </a:lvl5pPr>
            <a:lvl6pPr marL="1890097" indent="0" algn="ctr">
              <a:buNone/>
              <a:defRPr sz="1323"/>
            </a:lvl6pPr>
            <a:lvl7pPr marL="2268113" indent="0" algn="ctr">
              <a:buNone/>
              <a:defRPr sz="1323"/>
            </a:lvl7pPr>
            <a:lvl8pPr marL="2646133" indent="0" algn="ctr">
              <a:buNone/>
              <a:defRPr sz="1323"/>
            </a:lvl8pPr>
            <a:lvl9pPr marL="3024153" indent="0" algn="ctr">
              <a:buNone/>
              <a:defRPr sz="1323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A29E56A-9925-0546-B797-F78D41600F4F}"/>
              </a:ext>
            </a:extLst>
          </p:cNvPr>
          <p:cNvCxnSpPr>
            <a:cxnSpLocks/>
          </p:cNvCxnSpPr>
          <p:nvPr/>
        </p:nvCxnSpPr>
        <p:spPr>
          <a:xfrm>
            <a:off x="365760" y="4270246"/>
            <a:ext cx="2441448" cy="0"/>
          </a:xfrm>
          <a:prstGeom prst="line">
            <a:avLst/>
          </a:prstGeom>
          <a:ln w="50800">
            <a:solidFill>
              <a:schemeClr val="bg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3CAD665B-C7C1-E54C-BF2E-18C758DA7CF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03478" y="810124"/>
            <a:ext cx="1158125" cy="1495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4283316"/>
      </p:ext>
    </p:extLst>
  </p:cSld>
  <p:clrMapOvr>
    <a:masterClrMapping/>
  </p:clrMapOvr>
  <p:hf hd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E868177-6896-E849-8188-287BD2AA6653}"/>
              </a:ext>
            </a:extLst>
          </p:cNvPr>
          <p:cNvSpPr/>
          <p:nvPr/>
        </p:nvSpPr>
        <p:spPr>
          <a:xfrm>
            <a:off x="-3344" y="0"/>
            <a:ext cx="6858000" cy="1813090"/>
          </a:xfrm>
          <a:prstGeom prst="rect">
            <a:avLst/>
          </a:prstGeom>
          <a:solidFill>
            <a:srgbClr val="97298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9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0CBF80B-70C0-DE40-9B2F-11B0C84DE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7711" y="17915"/>
            <a:ext cx="6242585" cy="1795182"/>
          </a:xfrm>
        </p:spPr>
        <p:txBody>
          <a:bodyPr anchor="ctr" anchorCtr="0">
            <a:normAutofit/>
          </a:bodyPr>
          <a:lstStyle>
            <a:lvl1pPr>
              <a:defRPr sz="352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055E6F6-A378-CB41-AFB4-E61F1C4F09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7711" y="2293308"/>
            <a:ext cx="6242585" cy="6316509"/>
          </a:xfrm>
        </p:spPr>
        <p:txBody>
          <a:bodyPr>
            <a:normAutofit/>
          </a:bodyPr>
          <a:lstStyle>
            <a:lvl1pPr>
              <a:defRPr sz="2352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1962D300-E314-F649-8673-7BB17CD383A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71" y="9137078"/>
            <a:ext cx="137405" cy="341376"/>
          </a:xfrm>
          <a:prstGeom prst="rect">
            <a:avLst/>
          </a:prstGeom>
        </p:spPr>
      </p:pic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4D7F39F4-0AF2-3C4E-8CF1-6F1A4E6C8F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215255" y="9052184"/>
            <a:ext cx="1543050" cy="511175"/>
          </a:xfrm>
        </p:spPr>
        <p:txBody>
          <a:bodyPr/>
          <a:lstStyle>
            <a:lvl1pPr>
              <a:defRPr sz="1176"/>
            </a:lvl1pPr>
          </a:lstStyle>
          <a:p>
            <a:fld id="{41354390-517E-9640-AC9D-8AF08224213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1AF50D5-3A29-4A5D-BFD3-173EBA6F32E2}"/>
              </a:ext>
            </a:extLst>
          </p:cNvPr>
          <p:cNvSpPr/>
          <p:nvPr userDrawn="1"/>
        </p:nvSpPr>
        <p:spPr>
          <a:xfrm>
            <a:off x="-3344" y="0"/>
            <a:ext cx="6858000" cy="1813090"/>
          </a:xfrm>
          <a:prstGeom prst="rect">
            <a:avLst/>
          </a:prstGeom>
          <a:solidFill>
            <a:srgbClr val="97298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9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9DC78D6-1931-4E12-BC49-D4D59CC21E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71" y="9137078"/>
            <a:ext cx="137405" cy="341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181972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8469382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Master – Uneven Doubl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E868177-6896-E849-8188-287BD2AA6653}"/>
              </a:ext>
            </a:extLst>
          </p:cNvPr>
          <p:cNvSpPr/>
          <p:nvPr/>
        </p:nvSpPr>
        <p:spPr>
          <a:xfrm>
            <a:off x="-3344" y="0"/>
            <a:ext cx="6858000" cy="1813090"/>
          </a:xfrm>
          <a:prstGeom prst="rect">
            <a:avLst/>
          </a:prstGeom>
          <a:solidFill>
            <a:srgbClr val="97298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9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0CBF80B-70C0-DE40-9B2F-11B0C84DE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7711" y="17915"/>
            <a:ext cx="6242585" cy="1795182"/>
          </a:xfrm>
        </p:spPr>
        <p:txBody>
          <a:bodyPr anchor="ctr" anchorCtr="0">
            <a:normAutofit/>
          </a:bodyPr>
          <a:lstStyle>
            <a:lvl1pPr>
              <a:defRPr sz="352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1962D300-E314-F649-8673-7BB17CD383A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71" y="9137078"/>
            <a:ext cx="137405" cy="341376"/>
          </a:xfrm>
          <a:prstGeom prst="rect">
            <a:avLst/>
          </a:prstGeom>
        </p:spPr>
      </p:pic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4D7F39F4-0AF2-3C4E-8CF1-6F1A4E6C8F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215255" y="9052184"/>
            <a:ext cx="1543050" cy="511175"/>
          </a:xfrm>
        </p:spPr>
        <p:txBody>
          <a:bodyPr/>
          <a:lstStyle>
            <a:lvl1pPr>
              <a:defRPr sz="1176"/>
            </a:lvl1pPr>
          </a:lstStyle>
          <a:p>
            <a:fld id="{41354390-517E-9640-AC9D-8AF08224213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ontent Placeholder 9">
            <a:extLst>
              <a:ext uri="{FF2B5EF4-FFF2-40B4-BE49-F238E27FC236}">
                <a16:creationId xmlns:a16="http://schemas.microsoft.com/office/drawing/2014/main" id="{16948DAF-EBCC-7F4D-9489-5A3B7E233DA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07182" y="2301497"/>
            <a:ext cx="1965528" cy="64264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12">
            <a:extLst>
              <a:ext uri="{FF2B5EF4-FFF2-40B4-BE49-F238E27FC236}">
                <a16:creationId xmlns:a16="http://schemas.microsoft.com/office/drawing/2014/main" id="{73D58EA1-ADE7-1D42-ADC7-4CE9E816936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503970" y="2301503"/>
            <a:ext cx="4046325" cy="64264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4092540"/>
      </p:ext>
    </p:extLst>
  </p:cSld>
  <p:clrMapOvr>
    <a:masterClrMapping/>
  </p:clrMapOvr>
  <p:hf hd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2AF6B90-AC1D-9144-BDC5-CDF264934A8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858000" cy="9601200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965C9EE8-A82D-8B48-9FD8-7B0CF910CBB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2014" y="4737343"/>
            <a:ext cx="5250107" cy="2884052"/>
          </a:xfrm>
        </p:spPr>
        <p:txBody>
          <a:bodyPr anchor="t">
            <a:noAutofit/>
          </a:bodyPr>
          <a:lstStyle>
            <a:lvl1pPr algn="l">
              <a:defRPr sz="7644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F686FBAA-8840-BB49-8DB3-36925FD1C5B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2014" y="7979664"/>
            <a:ext cx="5303446" cy="802749"/>
          </a:xfrm>
        </p:spPr>
        <p:txBody>
          <a:bodyPr anchor="t">
            <a:normAutofit/>
          </a:bodyPr>
          <a:lstStyle>
            <a:lvl1pPr marL="0" indent="0" algn="l">
              <a:buNone/>
              <a:defRPr sz="1985">
                <a:solidFill>
                  <a:schemeClr val="bg1"/>
                </a:solidFill>
              </a:defRPr>
            </a:lvl1pPr>
            <a:lvl2pPr marL="378018" indent="0" algn="ctr">
              <a:buNone/>
              <a:defRPr sz="1653"/>
            </a:lvl2pPr>
            <a:lvl3pPr marL="756038" indent="0" algn="ctr">
              <a:buNone/>
              <a:defRPr sz="1490"/>
            </a:lvl3pPr>
            <a:lvl4pPr marL="1134057" indent="0" algn="ctr">
              <a:buNone/>
              <a:defRPr sz="1323"/>
            </a:lvl4pPr>
            <a:lvl5pPr marL="1512077" indent="0" algn="ctr">
              <a:buNone/>
              <a:defRPr sz="1323"/>
            </a:lvl5pPr>
            <a:lvl6pPr marL="1890097" indent="0" algn="ctr">
              <a:buNone/>
              <a:defRPr sz="1323"/>
            </a:lvl6pPr>
            <a:lvl7pPr marL="2268113" indent="0" algn="ctr">
              <a:buNone/>
              <a:defRPr sz="1323"/>
            </a:lvl7pPr>
            <a:lvl8pPr marL="2646133" indent="0" algn="ctr">
              <a:buNone/>
              <a:defRPr sz="1323"/>
            </a:lvl8pPr>
            <a:lvl9pPr marL="3024153" indent="0" algn="ctr">
              <a:buNone/>
              <a:defRPr sz="1323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A29E56A-9925-0546-B797-F78D41600F4F}"/>
              </a:ext>
            </a:extLst>
          </p:cNvPr>
          <p:cNvCxnSpPr>
            <a:cxnSpLocks/>
          </p:cNvCxnSpPr>
          <p:nvPr/>
        </p:nvCxnSpPr>
        <p:spPr>
          <a:xfrm>
            <a:off x="365760" y="4270246"/>
            <a:ext cx="2441448" cy="0"/>
          </a:xfrm>
          <a:prstGeom prst="line">
            <a:avLst/>
          </a:prstGeom>
          <a:ln w="50800">
            <a:solidFill>
              <a:schemeClr val="bg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3CAD665B-C7C1-E54C-BF2E-18C758DA7CF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03478" y="810124"/>
            <a:ext cx="1158125" cy="1495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7295326"/>
      </p:ext>
    </p:extLst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group of people playing a game&#10;&#10;Description automatically generated with low confidence">
            <a:extLst>
              <a:ext uri="{FF2B5EF4-FFF2-40B4-BE49-F238E27FC236}">
                <a16:creationId xmlns:a16="http://schemas.microsoft.com/office/drawing/2014/main" id="{FE623C5D-89AF-974B-9EC7-9F9192168E3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62"/>
          <a:stretch/>
        </p:blipFill>
        <p:spPr>
          <a:xfrm>
            <a:off x="1" y="3676014"/>
            <a:ext cx="6848908" cy="5071746"/>
          </a:xfrm>
          <a:prstGeom prst="rect">
            <a:avLst/>
          </a:prstGeom>
        </p:spPr>
      </p:pic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83F329E6-A28F-AE4E-AEBA-0778244AD23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6015" y="717697"/>
            <a:ext cx="2085975" cy="2684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434249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ster – Doubl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E868177-6896-E849-8188-287BD2AA6653}"/>
              </a:ext>
            </a:extLst>
          </p:cNvPr>
          <p:cNvSpPr/>
          <p:nvPr/>
        </p:nvSpPr>
        <p:spPr>
          <a:xfrm>
            <a:off x="-3344" y="0"/>
            <a:ext cx="6858000" cy="1813090"/>
          </a:xfrm>
          <a:prstGeom prst="rect">
            <a:avLst/>
          </a:prstGeom>
          <a:solidFill>
            <a:srgbClr val="97298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9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0CBF80B-70C0-DE40-9B2F-11B0C84DE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7711" y="17915"/>
            <a:ext cx="6242585" cy="1795182"/>
          </a:xfrm>
        </p:spPr>
        <p:txBody>
          <a:bodyPr anchor="ctr" anchorCtr="0">
            <a:normAutofit/>
          </a:bodyPr>
          <a:lstStyle>
            <a:lvl1pPr>
              <a:defRPr sz="352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1962D300-E314-F649-8673-7BB17CD383A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71" y="9137078"/>
            <a:ext cx="137405" cy="341376"/>
          </a:xfrm>
          <a:prstGeom prst="rect">
            <a:avLst/>
          </a:prstGeom>
        </p:spPr>
      </p:pic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4D7F39F4-0AF2-3C4E-8CF1-6F1A4E6C8F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215255" y="9052184"/>
            <a:ext cx="1543050" cy="511175"/>
          </a:xfrm>
        </p:spPr>
        <p:txBody>
          <a:bodyPr/>
          <a:lstStyle>
            <a:lvl1pPr>
              <a:defRPr sz="1176"/>
            </a:lvl1pPr>
          </a:lstStyle>
          <a:p>
            <a:fld id="{41354390-517E-9640-AC9D-8AF08224213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ontent Placeholder 9">
            <a:extLst>
              <a:ext uri="{FF2B5EF4-FFF2-40B4-BE49-F238E27FC236}">
                <a16:creationId xmlns:a16="http://schemas.microsoft.com/office/drawing/2014/main" id="{16948DAF-EBCC-7F4D-9489-5A3B7E233DA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07182" y="2287574"/>
            <a:ext cx="3010178" cy="64254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12">
            <a:extLst>
              <a:ext uri="{FF2B5EF4-FFF2-40B4-BE49-F238E27FC236}">
                <a16:creationId xmlns:a16="http://schemas.microsoft.com/office/drawing/2014/main" id="{73D58EA1-ADE7-1D42-ADC7-4CE9E816936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540117" y="2287574"/>
            <a:ext cx="3010178" cy="64254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95058191"/>
      </p:ext>
    </p:extLst>
  </p:cSld>
  <p:clrMapOvr>
    <a:masterClrMapping/>
  </p:clrMapOvr>
  <p:hf hdr="0" dt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Master – Uneven Doubl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E868177-6896-E849-8188-287BD2AA6653}"/>
              </a:ext>
            </a:extLst>
          </p:cNvPr>
          <p:cNvSpPr/>
          <p:nvPr/>
        </p:nvSpPr>
        <p:spPr>
          <a:xfrm>
            <a:off x="-3344" y="0"/>
            <a:ext cx="6858000" cy="1813090"/>
          </a:xfrm>
          <a:prstGeom prst="rect">
            <a:avLst/>
          </a:prstGeom>
          <a:solidFill>
            <a:srgbClr val="97298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9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0CBF80B-70C0-DE40-9B2F-11B0C84DE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7711" y="17915"/>
            <a:ext cx="6242585" cy="1795182"/>
          </a:xfrm>
        </p:spPr>
        <p:txBody>
          <a:bodyPr anchor="ctr" anchorCtr="0">
            <a:normAutofit/>
          </a:bodyPr>
          <a:lstStyle>
            <a:lvl1pPr>
              <a:defRPr sz="352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1962D300-E314-F649-8673-7BB17CD383A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71" y="9137078"/>
            <a:ext cx="137405" cy="341376"/>
          </a:xfrm>
          <a:prstGeom prst="rect">
            <a:avLst/>
          </a:prstGeom>
        </p:spPr>
      </p:pic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4D7F39F4-0AF2-3C4E-8CF1-6F1A4E6C8F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215255" y="9052184"/>
            <a:ext cx="1543050" cy="511175"/>
          </a:xfrm>
        </p:spPr>
        <p:txBody>
          <a:bodyPr/>
          <a:lstStyle>
            <a:lvl1pPr>
              <a:defRPr sz="1176"/>
            </a:lvl1pPr>
          </a:lstStyle>
          <a:p>
            <a:fld id="{41354390-517E-9640-AC9D-8AF08224213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ontent Placeholder 9">
            <a:extLst>
              <a:ext uri="{FF2B5EF4-FFF2-40B4-BE49-F238E27FC236}">
                <a16:creationId xmlns:a16="http://schemas.microsoft.com/office/drawing/2014/main" id="{16948DAF-EBCC-7F4D-9489-5A3B7E233DA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07182" y="2301497"/>
            <a:ext cx="1965528" cy="64264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12">
            <a:extLst>
              <a:ext uri="{FF2B5EF4-FFF2-40B4-BE49-F238E27FC236}">
                <a16:creationId xmlns:a16="http://schemas.microsoft.com/office/drawing/2014/main" id="{73D58EA1-ADE7-1D42-ADC7-4CE9E816936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503970" y="2301503"/>
            <a:ext cx="4046325" cy="64264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99845606"/>
      </p:ext>
    </p:extLst>
  </p:cSld>
  <p:clrMapOvr>
    <a:masterClrMapping/>
  </p:clrMapOvr>
  <p:hf hd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l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C49A46AC-F417-1543-BF7D-4D0416600FA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465601" y="3503198"/>
            <a:ext cx="2007482" cy="2594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1458331"/>
      </p:ext>
    </p:extLst>
  </p:cSld>
  <p:clrMapOvr>
    <a:masterClrMapping/>
  </p:clrMapOvr>
  <p:hf hd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lose Revers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3CA37BA-851E-5A4A-9ACE-280ECF3E79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65604" y="3503968"/>
            <a:ext cx="2007481" cy="2591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4152204"/>
      </p:ext>
    </p:extLst>
  </p:cSld>
  <p:clrMapOvr>
    <a:masterClrMapping/>
  </p:clrMapOvr>
  <p:hf hd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CBF80B-70C0-DE40-9B2F-11B0C84DE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8238" y="0"/>
            <a:ext cx="6242585" cy="1137920"/>
          </a:xfrm>
        </p:spPr>
        <p:txBody>
          <a:bodyPr anchor="ctr" anchorCtr="0">
            <a:noAutofit/>
          </a:bodyPr>
          <a:lstStyle>
            <a:lvl1pPr>
              <a:defRPr sz="2205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806086-1914-2543-9E2A-684C7B8759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4459" y="9090047"/>
            <a:ext cx="2314575" cy="511175"/>
          </a:xfrm>
        </p:spPr>
        <p:txBody>
          <a:bodyPr/>
          <a:lstStyle/>
          <a:p>
            <a:r>
              <a:rPr lang="en-US"/>
              <a:t>Help at Ho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7A4202-570D-7B4E-89D8-28EF648D00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fld id="{41354390-517E-9640-AC9D-8AF08224213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839AEEFF-49A6-CA4B-BB32-9BA60B1AB30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07709" y="1593096"/>
            <a:ext cx="6243111" cy="704088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3459323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Dua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CBF80B-70C0-DE40-9B2F-11B0C84DE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7711" y="9"/>
            <a:ext cx="6242585" cy="1134237"/>
          </a:xfrm>
        </p:spPr>
        <p:txBody>
          <a:bodyPr anchor="ctr" anchorCtr="0">
            <a:noAutofit/>
          </a:bodyPr>
          <a:lstStyle>
            <a:lvl1pPr>
              <a:defRPr sz="2205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806086-1914-2543-9E2A-684C7B8759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4459" y="9090047"/>
            <a:ext cx="2314575" cy="511175"/>
          </a:xfrm>
        </p:spPr>
        <p:txBody>
          <a:bodyPr/>
          <a:lstStyle/>
          <a:p>
            <a:r>
              <a:rPr lang="en-US"/>
              <a:t>Help at Ho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7A4202-570D-7B4E-89D8-28EF648D00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354390-517E-9640-AC9D-8AF08224213B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27B4054F-17CD-D641-9E1B-A380C76E125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07184" y="1593088"/>
            <a:ext cx="2953941" cy="70413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81C1B787-6A79-6943-A007-A6B4B3FD541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612357" y="1593090"/>
            <a:ext cx="2937936" cy="70413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6609393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eft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67889FA-2987-6547-8DD3-9790BA2DE737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C0FC981-0112-F24A-BDFD-EA8A93B59DD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7900824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CA3FC3D-D4C7-754E-A0BC-78A17791F0F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BC74A1F-1A5F-964F-86B7-9ED3F989877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5625393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CA3FC3D-D4C7-754E-A0BC-78A17791F0F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BC74A1F-1A5F-964F-86B7-9ED3F989877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7843100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67889FA-2987-6547-8DD3-9790BA2DE737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C0FC981-0112-F24A-BDFD-EA8A93B59DD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5408380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op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CA3FC3D-D4C7-754E-A0BC-78A17791F0F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BC74A1F-1A5F-964F-86B7-9ED3F989877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6563895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67889FA-2987-6547-8DD3-9790BA2DE737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C0FC981-0112-F24A-BDFD-EA8A93B59DD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7503068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933402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45927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862471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B26B84C-55CA-EE4F-8980-930C5FC90F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1073" y="2351405"/>
            <a:ext cx="3504010" cy="5951184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74547A36-015A-7E4F-BAA2-B6DAF1129B64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908FB5FA-1F33-6741-91B4-BA3982565AC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4C97A00-CF03-7F4C-BDCC-240AF2EF9E5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40EC43F-F4FB-BE49-A897-7EC3619D66D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543970AC-FB34-B54D-AEC8-13E886D02C5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9132597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4" name="Picture 3" descr="A person and person sitting at a table&#10;&#10;Description automatically generated with low confidence">
            <a:extLst>
              <a:ext uri="{FF2B5EF4-FFF2-40B4-BE49-F238E27FC236}">
                <a16:creationId xmlns:a16="http://schemas.microsoft.com/office/drawing/2014/main" id="{CD7A90E9-93DB-E242-9EE5-25073AAC12D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5393" y="1954840"/>
            <a:ext cx="3300212" cy="6486221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0FB04D65-2AB6-BB46-900D-499E25F6399F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DF75F0E1-FF52-4F47-8D31-2F91FA90FA68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08D9FD7-3B6B-A642-B69C-5E0D6848D72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DF891E3-C50C-3045-8D5B-FAC7DE9D89A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BFA8B594-C762-C049-BA5A-97A4231ECB6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5346021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E751C71E-69DD-8548-8A03-A95195FC12F4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0145D153-4259-C442-A60B-877B687AA0B4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36AD6D6-44CC-8040-8106-98BCE69F6449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20" name="Picture 1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A2D5806E-A8F3-1F4D-82FA-4F558AFEEC6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1056" y="2321169"/>
            <a:ext cx="3530411" cy="6106551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158263E-7ED4-DD4B-8B85-2217C17E8C3A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4489ECC-72A6-FD4C-A90E-971EA795D5C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1493534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4" name="Picture 3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D6DF272A-DFA2-CA48-A33F-A2930A3AA68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8210" y="1938026"/>
            <a:ext cx="3313388" cy="6663055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12A48CC2-0DE3-744A-80BC-8F496E076C99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7F619E19-7687-774F-9736-E8F8B3CE929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F67E747-BF57-1841-BC64-60990BB5EB0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6341B48-CB55-7643-9146-504AC38BF2F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BA5D2C38-EDC8-3345-88F7-3F26677064A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40719560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36022C7-4E0C-634C-8EA4-E25F7D17CEB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491" y="2106936"/>
            <a:ext cx="3373636" cy="6275664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6CCB1D9A-C04F-1D46-B01F-25E830C460FD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7E1DBCD0-262A-9B4B-A202-A0484C1A7AA8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816EC32-037D-E148-920B-B6B9C0BA59CE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07F2ABA-46AC-5846-A87F-1B0C07DF928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6A878E25-72EB-6E4F-88FB-450C426912A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8892158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13" name="Picture 12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3246AED4-C5D7-744C-9285-5271D768C68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9997" y="2000256"/>
            <a:ext cx="3307782" cy="6547485"/>
          </a:xfrm>
          <a:prstGeom prst="rect">
            <a:avLst/>
          </a:prstGeom>
        </p:spPr>
      </p:pic>
      <p:sp>
        <p:nvSpPr>
          <p:cNvPr id="15" name="SUBTITLE">
            <a:extLst>
              <a:ext uri="{FF2B5EF4-FFF2-40B4-BE49-F238E27FC236}">
                <a16:creationId xmlns:a16="http://schemas.microsoft.com/office/drawing/2014/main" id="{C700CA76-1402-B04D-A5F4-59137397F33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712270B3-06B2-124E-89A0-389B22EE271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291EECB-33F1-774B-9367-105EC058517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5E58BEC-0C7F-2844-A1C5-F460D474FB5F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E6F2B0C6-B1E0-DA4B-BC8E-04C5527B498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6915922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CA3FC3D-D4C7-754E-A0BC-78A17791F0F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BC74A1F-1A5F-964F-86B7-9ED3F989877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1059571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6" name="Picture 5" descr="A picture containing text, vector graphics&#10;&#10;Description automatically generated">
            <a:extLst>
              <a:ext uri="{FF2B5EF4-FFF2-40B4-BE49-F238E27FC236}">
                <a16:creationId xmlns:a16="http://schemas.microsoft.com/office/drawing/2014/main" id="{812C280E-BCC1-694E-8311-E388CD071BF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0351" y="2196845"/>
            <a:ext cx="3650456" cy="6368670"/>
          </a:xfrm>
          <a:prstGeom prst="rect">
            <a:avLst/>
          </a:prstGeom>
        </p:spPr>
      </p:pic>
      <p:sp>
        <p:nvSpPr>
          <p:cNvPr id="15" name="SUBTITLE">
            <a:extLst>
              <a:ext uri="{FF2B5EF4-FFF2-40B4-BE49-F238E27FC236}">
                <a16:creationId xmlns:a16="http://schemas.microsoft.com/office/drawing/2014/main" id="{E9FA6826-A7DE-AF4C-B064-5C0EF3E88168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65799A06-E165-5E4D-AD06-5147E2952E3E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267099F-5424-0542-B5F2-A9666C380755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216228E-91EE-8B47-A1DD-BBCCFB163FB0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DEE6C93A-7981-DB43-9B20-8EC15CA7236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5214860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572FC43F-47A3-C74B-9D80-9114C3C975A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5012" y="2093595"/>
            <a:ext cx="3226016" cy="6560820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15F3F329-EB0F-BA44-BD7D-DEF3771EB3C4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57D66653-6AB4-4741-92DD-CCB67AE1BAFA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3EFABD2-FB45-DF41-8952-3876CC976482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7E974D6-1C7B-204A-B803-BEE774AEB095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C6FB52EA-4D0B-8849-9D44-7B7677CF1F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0728866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4" name="Picture 3" descr="A picture containing bedroom&#10;&#10;Description automatically generated">
            <a:extLst>
              <a:ext uri="{FF2B5EF4-FFF2-40B4-BE49-F238E27FC236}">
                <a16:creationId xmlns:a16="http://schemas.microsoft.com/office/drawing/2014/main" id="{16A213DA-5018-A348-A2E6-EA4AC1E8E3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1407"/>
          <a:stretch/>
        </p:blipFill>
        <p:spPr>
          <a:xfrm>
            <a:off x="2846785" y="2115825"/>
            <a:ext cx="3378994" cy="6413032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DB5D7591-2B4F-4C40-A9A6-2577DFCFC49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753F9D1B-43EA-4B45-96B2-8F0AA75C84CA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C8F8380-77EE-3440-96B8-B5BD10FFD7F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81BE6AD-51A9-6849-AE16-0E81937D2D6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E5002B3E-358D-9D4B-923F-4A9B00853F3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5093251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 descr="A person pushing a person in a wheelchair&#10;&#10;Description automatically generated with medium confidence">
            <a:extLst>
              <a:ext uri="{FF2B5EF4-FFF2-40B4-BE49-F238E27FC236}">
                <a16:creationId xmlns:a16="http://schemas.microsoft.com/office/drawing/2014/main" id="{C2BB09E2-412A-8843-BF63-02FA4DC1AE2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9648" y="1929134"/>
            <a:ext cx="3220078" cy="6551931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57C7A60A-EA51-1441-A2C7-FC0C8DC97FCB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3C5E8E72-0225-0440-94F9-103F3E13D952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43DE48B-6A69-1548-A93A-6890580DD7F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E9AF25F-BEFC-E948-A3F4-54212E13B3C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43ACEC71-69C8-1342-A41B-96C12DB19EB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6514223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BA77DD56-CF2D-7143-A269-17CD1CDF1486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1" name="CONTENT_BODY">
            <a:extLst>
              <a:ext uri="{FF2B5EF4-FFF2-40B4-BE49-F238E27FC236}">
                <a16:creationId xmlns:a16="http://schemas.microsoft.com/office/drawing/2014/main" id="{5CF8FE1B-8254-3045-AD7C-359A1EA50C00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ACCDD8A-7501-684E-82AC-FE12D8BBEC41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66C7207C-A2E3-9047-A798-273D4A4115A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5405" y="1866902"/>
            <a:ext cx="3204650" cy="6848972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52F8906-57CC-3F4B-BA86-4D49E40C4285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97545CEB-AA76-114C-B8BB-EED295A6A02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6967079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B26B84C-55CA-EE4F-8980-930C5FC90F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396" y="2391410"/>
            <a:ext cx="3504010" cy="5951184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06CC4D0-5556-D84E-A8A7-3B6ED4814D49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A4440AE9-9FBF-5C48-8966-17A3A54ED8B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2597550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A person and person sitting at a table&#10;&#10;Description automatically generated with low confidence">
            <a:extLst>
              <a:ext uri="{FF2B5EF4-FFF2-40B4-BE49-F238E27FC236}">
                <a16:creationId xmlns:a16="http://schemas.microsoft.com/office/drawing/2014/main" id="{9839DB6C-11F2-0940-A9F0-202160AD698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580" y="1954840"/>
            <a:ext cx="3300212" cy="6486221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F36FB9A9-9207-EF4D-BD99-BF4EDC2BA164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DCE9D31-06F5-C843-9DC1-1FF9A025E05E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1E406DC6-6CB1-5F4F-AE73-60E7952124B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9637321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20D0C946-5ADD-8B41-B649-6925D550BC8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837" y="2321169"/>
            <a:ext cx="3530411" cy="6106551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84FCA277-348C-5C42-918C-26627AE47FF2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E218AA5-BD09-1E49-89F7-C6241D7AD229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3957676-6A42-1743-B957-6E78550BE19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8087463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7A864146-6CCE-9A4A-84BA-B6BCDAF5D30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131" y="1938026"/>
            <a:ext cx="3313388" cy="6663055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5BE26645-9E7A-F548-B39E-AD1776B7626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604E142-6BB1-BA4F-9634-9340B6077CF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EE63458E-6241-1340-AA06-D6280B5A500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42194823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DE5459C2-4B47-8440-B7B9-578E698F5D7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128" y="2106936"/>
            <a:ext cx="3373636" cy="6275664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B9775042-0EAD-924F-A799-62789C37D750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706CFE3-CD00-984B-B662-4F7D04634BB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6F725BDE-5F05-C14C-AF44-FB1BDBF8E31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1195033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CA3FC3D-D4C7-754E-A0BC-78A17791F0F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BC74A1F-1A5F-964F-86B7-9ED3F989877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4686817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B0877346-9DC8-0343-9DCE-804A59167A3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771" y="2000256"/>
            <a:ext cx="3307782" cy="6547485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56F0E052-93EF-3643-BCDC-4906B91EAD5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5238120-D557-4244-88A0-C3D6FDEA8CE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E986EC7-CC70-854E-9AEC-20907FA1E17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8894659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 descr="A picture containing text, vector graphics&#10;&#10;Description automatically generated">
            <a:extLst>
              <a:ext uri="{FF2B5EF4-FFF2-40B4-BE49-F238E27FC236}">
                <a16:creationId xmlns:a16="http://schemas.microsoft.com/office/drawing/2014/main" id="{DB8F2F09-0FE3-4A4F-ACA6-7F81E8B8E3C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968" y="2196845"/>
            <a:ext cx="3650456" cy="6368670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5BDDD7F7-2303-2144-AC89-7933313B61C2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F71A0F5-4117-5E48-AEC2-8DB22FB6580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35D38590-BB10-9248-96D4-51B85870E6F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3757821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2" name="Picture 11" descr="A picture containing bedroom&#10;&#10;Description automatically generated">
            <a:extLst>
              <a:ext uri="{FF2B5EF4-FFF2-40B4-BE49-F238E27FC236}">
                <a16:creationId xmlns:a16="http://schemas.microsoft.com/office/drawing/2014/main" id="{A4C46BDA-DDCE-F945-B5A5-9BFF86253E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1407"/>
          <a:stretch/>
        </p:blipFill>
        <p:spPr>
          <a:xfrm>
            <a:off x="371476" y="2115825"/>
            <a:ext cx="3378994" cy="6413032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F426D2B8-6A2C-0F42-A33E-2F8DEC900B9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74C9DAF-C0E9-6846-B2F8-20B3333F4A60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E134E39-4866-EC4C-83A0-B1EC1557109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4471852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A person pushing a person in a wheelchair&#10;&#10;Description automatically generated with medium confidence">
            <a:extLst>
              <a:ext uri="{FF2B5EF4-FFF2-40B4-BE49-F238E27FC236}">
                <a16:creationId xmlns:a16="http://schemas.microsoft.com/office/drawing/2014/main" id="{80EEB071-ACF4-BF4B-9446-07CBF0CF71A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633" y="1929134"/>
            <a:ext cx="3220078" cy="6551931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DE095F98-09C4-5D45-8067-131EB41A2A14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877E37E-479B-EC4D-8F04-16D51705606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D61C570-0340-954F-9484-FB0A64EA9B2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801426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6A913BD2-E033-F440-A59D-9342F474207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380" y="1866902"/>
            <a:ext cx="3204650" cy="6848972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06BA9F2C-3AFE-8E44-A4FA-47B2B89B4446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5ACA424-3199-A14F-92C8-A844C7A91B8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521D3765-BB43-7C43-8981-4C0DA1D597E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4255847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A picture containing text&#10;&#10;Description automatically generated">
            <a:extLst>
              <a:ext uri="{FF2B5EF4-FFF2-40B4-BE49-F238E27FC236}">
                <a16:creationId xmlns:a16="http://schemas.microsoft.com/office/drawing/2014/main" id="{28B037F3-E995-E146-ADA1-7DDFCF9C891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271" y="2093595"/>
            <a:ext cx="3226016" cy="6560820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E5FA3264-73E9-1E4E-8198-FF3FD2778C65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9FEFCC-25CE-3A4B-9369-7B3B7F8855A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1890F2F-F48E-BF47-B426-AC7C664FE54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8831024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3" name="Picture 12" descr="Icon&#10;&#10;Description automatically generated">
            <a:extLst>
              <a:ext uri="{FF2B5EF4-FFF2-40B4-BE49-F238E27FC236}">
                <a16:creationId xmlns:a16="http://schemas.microsoft.com/office/drawing/2014/main" id="{9BA565C6-4721-7341-BE63-E67036183FE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4882" y="1571105"/>
            <a:ext cx="1034471" cy="7185545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71EDBA7-8291-694D-A458-9595F81A169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BE2B5292-6F5F-3341-867F-0C9B0CD4AEE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6131417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7E67D680-12ED-824A-87EF-6791CFA1E5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48" r="32236"/>
          <a:stretch/>
        </p:blipFill>
        <p:spPr>
          <a:xfrm>
            <a:off x="6102044" y="2385753"/>
            <a:ext cx="755957" cy="1149235"/>
          </a:xfrm>
          <a:prstGeom prst="rect">
            <a:avLst/>
          </a:prstGeom>
        </p:spPr>
      </p:pic>
      <p:pic>
        <p:nvPicPr>
          <p:cNvPr id="10" name="Picture 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6C126D6A-DDDE-834A-B729-8C50F919F1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85"/>
          <a:stretch/>
        </p:blipFill>
        <p:spPr>
          <a:xfrm>
            <a:off x="6446911" y="1807096"/>
            <a:ext cx="300038" cy="564110"/>
          </a:xfrm>
          <a:prstGeom prst="rect">
            <a:avLst/>
          </a:prstGeom>
        </p:spPr>
      </p:pic>
      <p:pic>
        <p:nvPicPr>
          <p:cNvPr id="11" name="Picture 10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4AB055B6-38C0-B645-A119-8AC14F6B2C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" t="-325" r="58022" b="627"/>
          <a:stretch/>
        </p:blipFill>
        <p:spPr>
          <a:xfrm>
            <a:off x="5955941" y="4276903"/>
            <a:ext cx="902061" cy="448055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323FAE0-C312-F34A-A6E6-2C89A65B2CE1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EC166583-7A41-4041-803E-9B3C0754E4A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5443257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A picture containing window, building&#10;&#10;Description automatically generated">
            <a:extLst>
              <a:ext uri="{FF2B5EF4-FFF2-40B4-BE49-F238E27FC236}">
                <a16:creationId xmlns:a16="http://schemas.microsoft.com/office/drawing/2014/main" id="{CB89B883-6AD8-B84D-B7F9-3A9757F16D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792"/>
          <a:stretch/>
        </p:blipFill>
        <p:spPr>
          <a:xfrm>
            <a:off x="5907232" y="2312216"/>
            <a:ext cx="950769" cy="3448512"/>
          </a:xfrm>
          <a:prstGeom prst="rect">
            <a:avLst/>
          </a:prstGeom>
        </p:spPr>
      </p:pic>
      <p:pic>
        <p:nvPicPr>
          <p:cNvPr id="13" name="Picture 12" descr="A picture containing icon&#10;&#10;Description automatically generated">
            <a:extLst>
              <a:ext uri="{FF2B5EF4-FFF2-40B4-BE49-F238E27FC236}">
                <a16:creationId xmlns:a16="http://schemas.microsoft.com/office/drawing/2014/main" id="{E2C3AEB5-ED5F-E84E-AD7A-898ACF65B4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536" t="-4489" r="40379" b="-1"/>
          <a:stretch/>
        </p:blipFill>
        <p:spPr>
          <a:xfrm>
            <a:off x="5392559" y="4273667"/>
            <a:ext cx="1465442" cy="451612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8C6848F-00AC-D549-8DED-3D587B4F72B6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9568B903-FC70-884E-9081-28161BF1EF5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9066505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6F86EDC7-B97B-7D47-99B4-FB6B796F0F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53" r="53883"/>
          <a:stretch/>
        </p:blipFill>
        <p:spPr>
          <a:xfrm>
            <a:off x="5955912" y="3180103"/>
            <a:ext cx="902091" cy="5600792"/>
          </a:xfrm>
          <a:prstGeom prst="rect">
            <a:avLst/>
          </a:prstGeom>
        </p:spPr>
      </p:pic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29D95539-14F0-7D41-8974-B2E9D64227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52" t="-1602" r="62206" b="78438"/>
          <a:stretch/>
        </p:blipFill>
        <p:spPr>
          <a:xfrm>
            <a:off x="6388462" y="2022077"/>
            <a:ext cx="469541" cy="154200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41D6703-C547-7643-8963-A4855F07BE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135FDA83-93E7-814A-8E75-BADD46FFA3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1438380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0.xml"/><Relationship Id="rId18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33.xml"/><Relationship Id="rId39" Type="http://schemas.openxmlformats.org/officeDocument/2006/relationships/slideLayout" Target="../slideLayouts/slideLayout46.xml"/><Relationship Id="rId21" Type="http://schemas.openxmlformats.org/officeDocument/2006/relationships/slideLayout" Target="../slideLayouts/slideLayout28.xml"/><Relationship Id="rId34" Type="http://schemas.openxmlformats.org/officeDocument/2006/relationships/slideLayout" Target="../slideLayouts/slideLayout41.xml"/><Relationship Id="rId42" Type="http://schemas.openxmlformats.org/officeDocument/2006/relationships/slideLayout" Target="../slideLayouts/slideLayout49.xml"/><Relationship Id="rId47" Type="http://schemas.openxmlformats.org/officeDocument/2006/relationships/slideLayout" Target="../slideLayouts/slideLayout54.xml"/><Relationship Id="rId50" Type="http://schemas.openxmlformats.org/officeDocument/2006/relationships/slideLayout" Target="../slideLayouts/slideLayout57.xml"/><Relationship Id="rId55" Type="http://schemas.openxmlformats.org/officeDocument/2006/relationships/tags" Target="../tags/tag14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6" Type="http://schemas.openxmlformats.org/officeDocument/2006/relationships/slideLayout" Target="../slideLayouts/slideLayout23.xml"/><Relationship Id="rId29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18.xml"/><Relationship Id="rId24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9.xml"/><Relationship Id="rId37" Type="http://schemas.openxmlformats.org/officeDocument/2006/relationships/slideLayout" Target="../slideLayouts/slideLayout44.xml"/><Relationship Id="rId40" Type="http://schemas.openxmlformats.org/officeDocument/2006/relationships/slideLayout" Target="../slideLayouts/slideLayout47.xml"/><Relationship Id="rId45" Type="http://schemas.openxmlformats.org/officeDocument/2006/relationships/slideLayout" Target="../slideLayouts/slideLayout52.xml"/><Relationship Id="rId53" Type="http://schemas.openxmlformats.org/officeDocument/2006/relationships/tags" Target="../tags/tag12.xml"/><Relationship Id="rId58" Type="http://schemas.openxmlformats.org/officeDocument/2006/relationships/image" Target="../media/image3.emf"/><Relationship Id="rId5" Type="http://schemas.openxmlformats.org/officeDocument/2006/relationships/slideLayout" Target="../slideLayouts/slideLayout12.xml"/><Relationship Id="rId19" Type="http://schemas.openxmlformats.org/officeDocument/2006/relationships/slideLayout" Target="../slideLayouts/slideLayout26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9.xml"/><Relationship Id="rId27" Type="http://schemas.openxmlformats.org/officeDocument/2006/relationships/slideLayout" Target="../slideLayouts/slideLayout34.xml"/><Relationship Id="rId30" Type="http://schemas.openxmlformats.org/officeDocument/2006/relationships/slideLayout" Target="../slideLayouts/slideLayout37.xml"/><Relationship Id="rId35" Type="http://schemas.openxmlformats.org/officeDocument/2006/relationships/slideLayout" Target="../slideLayouts/slideLayout42.xml"/><Relationship Id="rId43" Type="http://schemas.openxmlformats.org/officeDocument/2006/relationships/slideLayout" Target="../slideLayouts/slideLayout50.xml"/><Relationship Id="rId48" Type="http://schemas.openxmlformats.org/officeDocument/2006/relationships/slideLayout" Target="../slideLayouts/slideLayout55.xml"/><Relationship Id="rId56" Type="http://schemas.openxmlformats.org/officeDocument/2006/relationships/tags" Target="../tags/tag15.xml"/><Relationship Id="rId8" Type="http://schemas.openxmlformats.org/officeDocument/2006/relationships/slideLayout" Target="../slideLayouts/slideLayout15.xml"/><Relationship Id="rId51" Type="http://schemas.openxmlformats.org/officeDocument/2006/relationships/slideLayout" Target="../slideLayouts/slideLayout58.xml"/><Relationship Id="rId3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9.xml"/><Relationship Id="rId17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32.xml"/><Relationship Id="rId33" Type="http://schemas.openxmlformats.org/officeDocument/2006/relationships/slideLayout" Target="../slideLayouts/slideLayout40.xml"/><Relationship Id="rId38" Type="http://schemas.openxmlformats.org/officeDocument/2006/relationships/slideLayout" Target="../slideLayouts/slideLayout45.xml"/><Relationship Id="rId46" Type="http://schemas.openxmlformats.org/officeDocument/2006/relationships/slideLayout" Target="../slideLayouts/slideLayout53.xml"/><Relationship Id="rId20" Type="http://schemas.openxmlformats.org/officeDocument/2006/relationships/slideLayout" Target="../slideLayouts/slideLayout27.xml"/><Relationship Id="rId41" Type="http://schemas.openxmlformats.org/officeDocument/2006/relationships/slideLayout" Target="../slideLayouts/slideLayout48.xml"/><Relationship Id="rId54" Type="http://schemas.openxmlformats.org/officeDocument/2006/relationships/tags" Target="../tags/tag13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5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30.xml"/><Relationship Id="rId28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43.xml"/><Relationship Id="rId49" Type="http://schemas.openxmlformats.org/officeDocument/2006/relationships/slideLayout" Target="../slideLayouts/slideLayout56.xml"/><Relationship Id="rId57" Type="http://schemas.openxmlformats.org/officeDocument/2006/relationships/tags" Target="../tags/tag16.xml"/><Relationship Id="rId10" Type="http://schemas.openxmlformats.org/officeDocument/2006/relationships/slideLayout" Target="../slideLayouts/slideLayout17.xml"/><Relationship Id="rId31" Type="http://schemas.openxmlformats.org/officeDocument/2006/relationships/slideLayout" Target="../slideLayouts/slideLayout38.xml"/><Relationship Id="rId44" Type="http://schemas.openxmlformats.org/officeDocument/2006/relationships/slideLayout" Target="../slideLayouts/slideLayout51.xml"/><Relationship Id="rId5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5" Type="http://schemas.openxmlformats.org/officeDocument/2006/relationships/slideLayout" Target="../slideLayouts/slideLayout63.xml"/><Relationship Id="rId10" Type="http://schemas.openxmlformats.org/officeDocument/2006/relationships/image" Target="../media/image23.png"/><Relationship Id="rId4" Type="http://schemas.openxmlformats.org/officeDocument/2006/relationships/slideLayout" Target="../slideLayouts/slideLayout62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9.xml"/><Relationship Id="rId18" Type="http://schemas.openxmlformats.org/officeDocument/2006/relationships/slideLayout" Target="../slideLayouts/slideLayout84.xml"/><Relationship Id="rId26" Type="http://schemas.openxmlformats.org/officeDocument/2006/relationships/slideLayout" Target="../slideLayouts/slideLayout92.xml"/><Relationship Id="rId39" Type="http://schemas.openxmlformats.org/officeDocument/2006/relationships/slideLayout" Target="../slideLayouts/slideLayout105.xml"/><Relationship Id="rId21" Type="http://schemas.openxmlformats.org/officeDocument/2006/relationships/slideLayout" Target="../slideLayouts/slideLayout87.xml"/><Relationship Id="rId34" Type="http://schemas.openxmlformats.org/officeDocument/2006/relationships/slideLayout" Target="../slideLayouts/slideLayout100.xml"/><Relationship Id="rId42" Type="http://schemas.openxmlformats.org/officeDocument/2006/relationships/slideLayout" Target="../slideLayouts/slideLayout108.xml"/><Relationship Id="rId47" Type="http://schemas.openxmlformats.org/officeDocument/2006/relationships/slideLayout" Target="../slideLayouts/slideLayout113.xml"/><Relationship Id="rId50" Type="http://schemas.openxmlformats.org/officeDocument/2006/relationships/tags" Target="../tags/tag143.xml"/><Relationship Id="rId55" Type="http://schemas.openxmlformats.org/officeDocument/2006/relationships/oleObject" Target="../embeddings/oleObject1.bin"/><Relationship Id="rId7" Type="http://schemas.openxmlformats.org/officeDocument/2006/relationships/slideLayout" Target="../slideLayouts/slideLayout73.xml"/><Relationship Id="rId2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82.xml"/><Relationship Id="rId29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77.xml"/><Relationship Id="rId24" Type="http://schemas.openxmlformats.org/officeDocument/2006/relationships/slideLayout" Target="../slideLayouts/slideLayout90.xml"/><Relationship Id="rId32" Type="http://schemas.openxmlformats.org/officeDocument/2006/relationships/slideLayout" Target="../slideLayouts/slideLayout98.xml"/><Relationship Id="rId37" Type="http://schemas.openxmlformats.org/officeDocument/2006/relationships/slideLayout" Target="../slideLayouts/slideLayout103.xml"/><Relationship Id="rId40" Type="http://schemas.openxmlformats.org/officeDocument/2006/relationships/slideLayout" Target="../slideLayouts/slideLayout106.xml"/><Relationship Id="rId45" Type="http://schemas.openxmlformats.org/officeDocument/2006/relationships/slideLayout" Target="../slideLayouts/slideLayout111.xml"/><Relationship Id="rId53" Type="http://schemas.openxmlformats.org/officeDocument/2006/relationships/tags" Target="../tags/tag146.xml"/><Relationship Id="rId5" Type="http://schemas.openxmlformats.org/officeDocument/2006/relationships/slideLayout" Target="../slideLayouts/slideLayout71.xml"/><Relationship Id="rId19" Type="http://schemas.openxmlformats.org/officeDocument/2006/relationships/slideLayout" Target="../slideLayouts/slideLayout85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slideLayout" Target="../slideLayouts/slideLayout80.xml"/><Relationship Id="rId22" Type="http://schemas.openxmlformats.org/officeDocument/2006/relationships/slideLayout" Target="../slideLayouts/slideLayout88.xml"/><Relationship Id="rId27" Type="http://schemas.openxmlformats.org/officeDocument/2006/relationships/slideLayout" Target="../slideLayouts/slideLayout93.xml"/><Relationship Id="rId30" Type="http://schemas.openxmlformats.org/officeDocument/2006/relationships/slideLayout" Target="../slideLayouts/slideLayout96.xml"/><Relationship Id="rId35" Type="http://schemas.openxmlformats.org/officeDocument/2006/relationships/slideLayout" Target="../slideLayouts/slideLayout101.xml"/><Relationship Id="rId43" Type="http://schemas.openxmlformats.org/officeDocument/2006/relationships/slideLayout" Target="../slideLayouts/slideLayout109.xml"/><Relationship Id="rId48" Type="http://schemas.openxmlformats.org/officeDocument/2006/relationships/theme" Target="../theme/theme4.xml"/><Relationship Id="rId56" Type="http://schemas.openxmlformats.org/officeDocument/2006/relationships/image" Target="../media/image28.emf"/><Relationship Id="rId8" Type="http://schemas.openxmlformats.org/officeDocument/2006/relationships/slideLayout" Target="../slideLayouts/slideLayout74.xml"/><Relationship Id="rId51" Type="http://schemas.openxmlformats.org/officeDocument/2006/relationships/tags" Target="../tags/tag144.xml"/><Relationship Id="rId3" Type="http://schemas.openxmlformats.org/officeDocument/2006/relationships/slideLayout" Target="../slideLayouts/slideLayout69.xml"/><Relationship Id="rId12" Type="http://schemas.openxmlformats.org/officeDocument/2006/relationships/slideLayout" Target="../slideLayouts/slideLayout78.xml"/><Relationship Id="rId17" Type="http://schemas.openxmlformats.org/officeDocument/2006/relationships/slideLayout" Target="../slideLayouts/slideLayout83.xml"/><Relationship Id="rId25" Type="http://schemas.openxmlformats.org/officeDocument/2006/relationships/slideLayout" Target="../slideLayouts/slideLayout91.xml"/><Relationship Id="rId33" Type="http://schemas.openxmlformats.org/officeDocument/2006/relationships/slideLayout" Target="../slideLayouts/slideLayout99.xml"/><Relationship Id="rId38" Type="http://schemas.openxmlformats.org/officeDocument/2006/relationships/slideLayout" Target="../slideLayouts/slideLayout104.xml"/><Relationship Id="rId46" Type="http://schemas.openxmlformats.org/officeDocument/2006/relationships/slideLayout" Target="../slideLayouts/slideLayout112.xml"/><Relationship Id="rId20" Type="http://schemas.openxmlformats.org/officeDocument/2006/relationships/slideLayout" Target="../slideLayouts/slideLayout86.xml"/><Relationship Id="rId41" Type="http://schemas.openxmlformats.org/officeDocument/2006/relationships/slideLayout" Target="../slideLayouts/slideLayout107.xml"/><Relationship Id="rId54" Type="http://schemas.openxmlformats.org/officeDocument/2006/relationships/tags" Target="../tags/tag147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5" Type="http://schemas.openxmlformats.org/officeDocument/2006/relationships/slideLayout" Target="../slideLayouts/slideLayout81.xml"/><Relationship Id="rId23" Type="http://schemas.openxmlformats.org/officeDocument/2006/relationships/slideLayout" Target="../slideLayouts/slideLayout89.xml"/><Relationship Id="rId28" Type="http://schemas.openxmlformats.org/officeDocument/2006/relationships/slideLayout" Target="../slideLayouts/slideLayout94.xml"/><Relationship Id="rId36" Type="http://schemas.openxmlformats.org/officeDocument/2006/relationships/slideLayout" Target="../slideLayouts/slideLayout102.xml"/><Relationship Id="rId49" Type="http://schemas.openxmlformats.org/officeDocument/2006/relationships/tags" Target="../tags/tag142.xml"/><Relationship Id="rId57" Type="http://schemas.openxmlformats.org/officeDocument/2006/relationships/image" Target="../media/image3.emf"/><Relationship Id="rId10" Type="http://schemas.openxmlformats.org/officeDocument/2006/relationships/slideLayout" Target="../slideLayouts/slideLayout76.xml"/><Relationship Id="rId31" Type="http://schemas.openxmlformats.org/officeDocument/2006/relationships/slideLayout" Target="../slideLayouts/slideLayout97.xml"/><Relationship Id="rId44" Type="http://schemas.openxmlformats.org/officeDocument/2006/relationships/slideLayout" Target="../slideLayouts/slideLayout110.xml"/><Relationship Id="rId52" Type="http://schemas.openxmlformats.org/officeDocument/2006/relationships/tags" Target="../tags/tag145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6.xml"/><Relationship Id="rId18" Type="http://schemas.openxmlformats.org/officeDocument/2006/relationships/slideLayout" Target="../slideLayouts/slideLayout131.xml"/><Relationship Id="rId26" Type="http://schemas.openxmlformats.org/officeDocument/2006/relationships/slideLayout" Target="../slideLayouts/slideLayout139.xml"/><Relationship Id="rId39" Type="http://schemas.openxmlformats.org/officeDocument/2006/relationships/slideLayout" Target="../slideLayouts/slideLayout152.xml"/><Relationship Id="rId21" Type="http://schemas.openxmlformats.org/officeDocument/2006/relationships/slideLayout" Target="../slideLayouts/slideLayout134.xml"/><Relationship Id="rId34" Type="http://schemas.openxmlformats.org/officeDocument/2006/relationships/slideLayout" Target="../slideLayouts/slideLayout147.xml"/><Relationship Id="rId42" Type="http://schemas.openxmlformats.org/officeDocument/2006/relationships/slideLayout" Target="../slideLayouts/slideLayout155.xml"/><Relationship Id="rId47" Type="http://schemas.openxmlformats.org/officeDocument/2006/relationships/slideLayout" Target="../slideLayouts/slideLayout160.xml"/><Relationship Id="rId50" Type="http://schemas.openxmlformats.org/officeDocument/2006/relationships/tags" Target="../tags/tag277.xml"/><Relationship Id="rId7" Type="http://schemas.openxmlformats.org/officeDocument/2006/relationships/slideLayout" Target="../slideLayouts/slideLayout120.xml"/><Relationship Id="rId2" Type="http://schemas.openxmlformats.org/officeDocument/2006/relationships/slideLayout" Target="../slideLayouts/slideLayout115.xml"/><Relationship Id="rId16" Type="http://schemas.openxmlformats.org/officeDocument/2006/relationships/slideLayout" Target="../slideLayouts/slideLayout129.xml"/><Relationship Id="rId29" Type="http://schemas.openxmlformats.org/officeDocument/2006/relationships/slideLayout" Target="../slideLayouts/slideLayout142.xml"/><Relationship Id="rId11" Type="http://schemas.openxmlformats.org/officeDocument/2006/relationships/slideLayout" Target="../slideLayouts/slideLayout124.xml"/><Relationship Id="rId24" Type="http://schemas.openxmlformats.org/officeDocument/2006/relationships/slideLayout" Target="../slideLayouts/slideLayout137.xml"/><Relationship Id="rId32" Type="http://schemas.openxmlformats.org/officeDocument/2006/relationships/slideLayout" Target="../slideLayouts/slideLayout145.xml"/><Relationship Id="rId37" Type="http://schemas.openxmlformats.org/officeDocument/2006/relationships/slideLayout" Target="../slideLayouts/slideLayout150.xml"/><Relationship Id="rId40" Type="http://schemas.openxmlformats.org/officeDocument/2006/relationships/slideLayout" Target="../slideLayouts/slideLayout153.xml"/><Relationship Id="rId45" Type="http://schemas.openxmlformats.org/officeDocument/2006/relationships/slideLayout" Target="../slideLayouts/slideLayout158.xml"/><Relationship Id="rId53" Type="http://schemas.openxmlformats.org/officeDocument/2006/relationships/tags" Target="../tags/tag280.xml"/><Relationship Id="rId5" Type="http://schemas.openxmlformats.org/officeDocument/2006/relationships/slideLayout" Target="../slideLayouts/slideLayout118.xml"/><Relationship Id="rId10" Type="http://schemas.openxmlformats.org/officeDocument/2006/relationships/slideLayout" Target="../slideLayouts/slideLayout123.xml"/><Relationship Id="rId19" Type="http://schemas.openxmlformats.org/officeDocument/2006/relationships/slideLayout" Target="../slideLayouts/slideLayout132.xml"/><Relationship Id="rId31" Type="http://schemas.openxmlformats.org/officeDocument/2006/relationships/slideLayout" Target="../slideLayouts/slideLayout144.xml"/><Relationship Id="rId44" Type="http://schemas.openxmlformats.org/officeDocument/2006/relationships/slideLayout" Target="../slideLayouts/slideLayout157.xml"/><Relationship Id="rId52" Type="http://schemas.openxmlformats.org/officeDocument/2006/relationships/tags" Target="../tags/tag279.xml"/><Relationship Id="rId4" Type="http://schemas.openxmlformats.org/officeDocument/2006/relationships/slideLayout" Target="../slideLayouts/slideLayout117.xml"/><Relationship Id="rId9" Type="http://schemas.openxmlformats.org/officeDocument/2006/relationships/slideLayout" Target="../slideLayouts/slideLayout122.xml"/><Relationship Id="rId14" Type="http://schemas.openxmlformats.org/officeDocument/2006/relationships/slideLayout" Target="../slideLayouts/slideLayout127.xml"/><Relationship Id="rId22" Type="http://schemas.openxmlformats.org/officeDocument/2006/relationships/slideLayout" Target="../slideLayouts/slideLayout135.xml"/><Relationship Id="rId27" Type="http://schemas.openxmlformats.org/officeDocument/2006/relationships/slideLayout" Target="../slideLayouts/slideLayout140.xml"/><Relationship Id="rId30" Type="http://schemas.openxmlformats.org/officeDocument/2006/relationships/slideLayout" Target="../slideLayouts/slideLayout143.xml"/><Relationship Id="rId35" Type="http://schemas.openxmlformats.org/officeDocument/2006/relationships/slideLayout" Target="../slideLayouts/slideLayout148.xml"/><Relationship Id="rId43" Type="http://schemas.openxmlformats.org/officeDocument/2006/relationships/slideLayout" Target="../slideLayouts/slideLayout156.xml"/><Relationship Id="rId48" Type="http://schemas.openxmlformats.org/officeDocument/2006/relationships/theme" Target="../theme/theme5.xml"/><Relationship Id="rId8" Type="http://schemas.openxmlformats.org/officeDocument/2006/relationships/slideLayout" Target="../slideLayouts/slideLayout121.xml"/><Relationship Id="rId51" Type="http://schemas.openxmlformats.org/officeDocument/2006/relationships/tags" Target="../tags/tag278.xml"/><Relationship Id="rId3" Type="http://schemas.openxmlformats.org/officeDocument/2006/relationships/slideLayout" Target="../slideLayouts/slideLayout116.xml"/><Relationship Id="rId12" Type="http://schemas.openxmlformats.org/officeDocument/2006/relationships/slideLayout" Target="../slideLayouts/slideLayout125.xml"/><Relationship Id="rId17" Type="http://schemas.openxmlformats.org/officeDocument/2006/relationships/slideLayout" Target="../slideLayouts/slideLayout130.xml"/><Relationship Id="rId25" Type="http://schemas.openxmlformats.org/officeDocument/2006/relationships/slideLayout" Target="../slideLayouts/slideLayout138.xml"/><Relationship Id="rId33" Type="http://schemas.openxmlformats.org/officeDocument/2006/relationships/slideLayout" Target="../slideLayouts/slideLayout146.xml"/><Relationship Id="rId38" Type="http://schemas.openxmlformats.org/officeDocument/2006/relationships/slideLayout" Target="../slideLayouts/slideLayout151.xml"/><Relationship Id="rId46" Type="http://schemas.openxmlformats.org/officeDocument/2006/relationships/slideLayout" Target="../slideLayouts/slideLayout159.xml"/><Relationship Id="rId20" Type="http://schemas.openxmlformats.org/officeDocument/2006/relationships/slideLayout" Target="../slideLayouts/slideLayout133.xml"/><Relationship Id="rId41" Type="http://schemas.openxmlformats.org/officeDocument/2006/relationships/slideLayout" Target="../slideLayouts/slideLayout154.xml"/><Relationship Id="rId54" Type="http://schemas.openxmlformats.org/officeDocument/2006/relationships/image" Target="../media/image3.emf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Relationship Id="rId15" Type="http://schemas.openxmlformats.org/officeDocument/2006/relationships/slideLayout" Target="../slideLayouts/slideLayout128.xml"/><Relationship Id="rId23" Type="http://schemas.openxmlformats.org/officeDocument/2006/relationships/slideLayout" Target="../slideLayouts/slideLayout136.xml"/><Relationship Id="rId28" Type="http://schemas.openxmlformats.org/officeDocument/2006/relationships/slideLayout" Target="../slideLayouts/slideLayout141.xml"/><Relationship Id="rId36" Type="http://schemas.openxmlformats.org/officeDocument/2006/relationships/slideLayout" Target="../slideLayouts/slideLayout149.xml"/><Relationship Id="rId49" Type="http://schemas.openxmlformats.org/officeDocument/2006/relationships/tags" Target="../tags/tag27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RACKINGCODE" hidden="1"/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467592" y="282390"/>
            <a:ext cx="5922819" cy="124469"/>
          </a:xfrm>
          <a:prstGeom prst="rect">
            <a:avLst/>
          </a:prstGeom>
        </p:spPr>
        <p:txBody>
          <a:bodyPr wrap="square" lIns="0" tIns="0" rIns="17791" bIns="17791">
            <a:spAutoFit/>
          </a:bodyPr>
          <a:lstStyle>
            <a:lvl1pPr marL="228600" indent="-228600" algn="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800" b="1">
                <a:solidFill>
                  <a:srgbClr val="00395C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 sz="682" b="0" ker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3" name="STAMP" hidden="1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5685905" y="203324"/>
            <a:ext cx="704504" cy="451821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 marL="228600" indent="-228600" algn="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800" b="1">
                <a:solidFill>
                  <a:srgbClr val="00395C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362" b="0" kern="0">
                <a:solidFill>
                  <a:srgbClr val="FF0000"/>
                </a:solidFill>
              </a:rPr>
              <a:t>STAMP</a:t>
            </a:r>
            <a:endParaRPr lang="en-US" sz="1362" b="0" kern="0" baseline="0">
              <a:solidFill>
                <a:srgbClr val="FF0000"/>
              </a:solidFill>
            </a:endParaRPr>
          </a:p>
        </p:txBody>
      </p:sp>
      <p:sp>
        <p:nvSpPr>
          <p:cNvPr id="7" name="CLOGO"/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4675909" y="8754035"/>
            <a:ext cx="1714500" cy="6777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0" rIns="17791" bIns="17791" anchor="ctr" anchorCtr="0"/>
          <a:lstStyle>
            <a:lvl1pPr marL="0" indent="0" algn="ct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62" kern="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8F1EC08-6FBC-814C-8823-60D66549F220}"/>
              </a:ext>
            </a:extLst>
          </p:cNvPr>
          <p:cNvSpPr/>
          <p:nvPr/>
        </p:nvSpPr>
        <p:spPr>
          <a:xfrm>
            <a:off x="0" y="8925336"/>
            <a:ext cx="6858000" cy="67586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44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C5E09D8-A5DD-6D45-9BE5-7A5FAD282BD0}"/>
              </a:ext>
            </a:extLst>
          </p:cNvPr>
          <p:cNvCxnSpPr/>
          <p:nvPr/>
        </p:nvCxnSpPr>
        <p:spPr>
          <a:xfrm>
            <a:off x="0" y="8769096"/>
            <a:ext cx="6858000" cy="0"/>
          </a:xfrm>
          <a:prstGeom prst="line">
            <a:avLst/>
          </a:prstGeom>
          <a:ln w="412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9"/>
    </p:custDataLst>
    <p:extLst>
      <p:ext uri="{BB962C8B-B14F-4D97-AF65-F5344CB8AC3E}">
        <p14:creationId xmlns:p14="http://schemas.microsoft.com/office/powerpoint/2010/main" val="29112509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9" r:id="rId1"/>
    <p:sldLayoutId id="2147483661" r:id="rId2"/>
    <p:sldLayoutId id="2147483662" r:id="rId3"/>
    <p:sldLayoutId id="2147483663" r:id="rId4"/>
    <p:sldLayoutId id="2147483664" r:id="rId5"/>
    <p:sldLayoutId id="2147483665" r:id="rId6"/>
    <p:sldLayoutId id="2147483727" r:id="rId7"/>
  </p:sldLayoutIdLst>
  <p:txStyles>
    <p:titleStyle>
      <a:lvl1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+mj-lt"/>
          <a:ea typeface="+mj-ea"/>
          <a:cs typeface="+mj-cs"/>
        </a:defRPr>
      </a:lvl1pPr>
      <a:lvl2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44795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6pPr>
      <a:lvl7pPr marL="889594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7pPr>
      <a:lvl8pPr marL="1334390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8pPr>
      <a:lvl9pPr marL="1779186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9pPr>
    </p:titleStyle>
    <p:bodyStyle>
      <a:lvl1pPr marL="222400" indent="-222400" algn="l" defTabSz="991526" rtl="0" eaLnBrk="1" fontAlgn="base" hangingPunct="1">
        <a:lnSpc>
          <a:spcPct val="110000"/>
        </a:lnSpc>
        <a:spcBef>
          <a:spcPts val="980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44795" indent="-220854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5000"/>
        <a:buFont typeface="Wingdings 2" pitchFamily="18" charset="2"/>
        <a:buChar char="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67195" indent="-220854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" pitchFamily="2" charset="2"/>
        <a:buChar char="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88049" indent="-21931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0000"/>
        <a:buFont typeface="Wingdings 3" pitchFamily="18" charset="2"/>
        <a:buChar char="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111992" indent="-22240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337477" indent="-22240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5000"/>
        <a:buFont typeface="Wingdings 2" pitchFamily="18" charset="2"/>
        <a:buChar char="¡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1553698" indent="-21622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" pitchFamily="2" charset="2"/>
        <a:buChar char="w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1779186" indent="-225487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0000"/>
        <a:buFont typeface="Wingdings 3" pitchFamily="18" charset="2"/>
        <a:buChar char="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8pPr>
      <a:lvl9pPr marL="2001584" indent="-22240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1pPr>
      <a:lvl2pPr marL="444795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2pPr>
      <a:lvl3pPr marL="889594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3pPr>
      <a:lvl4pPr marL="1334390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4pPr>
      <a:lvl5pPr marL="1779186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5pPr>
      <a:lvl6pPr marL="2223981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6pPr>
      <a:lvl7pPr marL="2668779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7pPr>
      <a:lvl8pPr marL="3113575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8pPr>
      <a:lvl9pPr marL="3558370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696" userDrawn="1">
          <p15:clr>
            <a:srgbClr val="F26B43"/>
          </p15:clr>
        </p15:guide>
        <p15:guide id="2" pos="1782" userDrawn="1">
          <p15:clr>
            <a:srgbClr val="F26B43"/>
          </p15:clr>
        </p15:guide>
        <p15:guide id="4" pos="243" userDrawn="1">
          <p15:clr>
            <a:srgbClr val="F26B43"/>
          </p15:clr>
        </p15:guide>
        <p15:guide id="5" orient="horz" pos="1142" userDrawn="1">
          <p15:clr>
            <a:srgbClr val="F26B43"/>
          </p15:clr>
        </p15:guide>
        <p15:guide id="6" orient="horz" pos="1478" userDrawn="1">
          <p15:clr>
            <a:srgbClr val="F26B43"/>
          </p15:clr>
        </p15:guide>
        <p15:guide id="7" orient="horz" pos="5914" userDrawn="1">
          <p15:clr>
            <a:srgbClr val="F26B43"/>
          </p15:clr>
        </p15:guide>
        <p15:guide id="8" orient="horz" pos="6182" userDrawn="1">
          <p15:clr>
            <a:srgbClr val="F26B43"/>
          </p15:clr>
        </p15:guide>
        <p15:guide id="9" orient="horz" pos="6451" userDrawn="1">
          <p15:clr>
            <a:srgbClr val="F26B43"/>
          </p15:clr>
        </p15:guide>
        <p15:guide id="10" pos="403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RACKINGCODE" hidden="1"/>
          <p:cNvSpPr txBox="1">
            <a:spLocks/>
          </p:cNvSpPr>
          <p:nvPr>
            <p:custDataLst>
              <p:tags r:id="rId54"/>
            </p:custDataLst>
          </p:nvPr>
        </p:nvSpPr>
        <p:spPr>
          <a:xfrm>
            <a:off x="467592" y="282388"/>
            <a:ext cx="5922819" cy="127675"/>
          </a:xfrm>
          <a:prstGeom prst="rect">
            <a:avLst/>
          </a:prstGeom>
        </p:spPr>
        <p:txBody>
          <a:bodyPr wrap="square" lIns="0" tIns="0" rIns="17791" bIns="17791">
            <a:spAutoFit/>
          </a:bodyPr>
          <a:lstStyle>
            <a:lvl1pPr marL="228600" indent="-228600" algn="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800" b="1">
                <a:solidFill>
                  <a:srgbClr val="00395C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 sz="682" b="0" ker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3" name="STAMP" hidden="1"/>
          <p:cNvSpPr txBox="1">
            <a:spLocks/>
          </p:cNvSpPr>
          <p:nvPr>
            <p:custDataLst>
              <p:tags r:id="rId55"/>
            </p:custDataLst>
          </p:nvPr>
        </p:nvSpPr>
        <p:spPr>
          <a:xfrm>
            <a:off x="5685905" y="203324"/>
            <a:ext cx="704504" cy="451821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 marL="228600" indent="-228600" algn="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800" b="1">
                <a:solidFill>
                  <a:srgbClr val="00395C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362" b="0" kern="0">
                <a:solidFill>
                  <a:srgbClr val="FF0000"/>
                </a:solidFill>
              </a:rPr>
              <a:t>STAMP</a:t>
            </a:r>
            <a:endParaRPr lang="en-US" sz="1362" b="0" kern="0" baseline="0">
              <a:solidFill>
                <a:srgbClr val="FF0000"/>
              </a:solidFill>
            </a:endParaRPr>
          </a:p>
        </p:txBody>
      </p:sp>
      <p:sp>
        <p:nvSpPr>
          <p:cNvPr id="7" name="CLOGO"/>
          <p:cNvSpPr txBox="1">
            <a:spLocks/>
          </p:cNvSpPr>
          <p:nvPr>
            <p:custDataLst>
              <p:tags r:id="rId56"/>
            </p:custDataLst>
          </p:nvPr>
        </p:nvSpPr>
        <p:spPr>
          <a:xfrm>
            <a:off x="4675909" y="8754035"/>
            <a:ext cx="1714500" cy="6777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0" rIns="17791" bIns="17791" anchor="ctr" anchorCtr="0"/>
          <a:lstStyle>
            <a:lvl1pPr marL="0" indent="0" algn="ct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62" kern="0">
              <a:ln>
                <a:solidFill>
                  <a:sysClr val="windowText" lastClr="000000"/>
                </a:solidFill>
              </a:ln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EB6E65D-DF3A-6F4D-B1C5-3FC3D06287EF}"/>
              </a:ext>
            </a:extLst>
          </p:cNvPr>
          <p:cNvPicPr>
            <a:picLocks noChangeAspect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6349" y="8919702"/>
            <a:ext cx="456057" cy="512064"/>
          </a:xfrm>
          <a:prstGeom prst="rect">
            <a:avLst/>
          </a:prstGeom>
        </p:spPr>
      </p:pic>
      <p:sp>
        <p:nvSpPr>
          <p:cNvPr id="6" name="PAGENUMBER">
            <a:extLst>
              <a:ext uri="{FF2B5EF4-FFF2-40B4-BE49-F238E27FC236}">
                <a16:creationId xmlns:a16="http://schemas.microsoft.com/office/drawing/2014/main" id="{6B135FA2-0643-B449-8A26-B5096B8A2EE9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>
          <a:xfrm>
            <a:off x="6604086" y="9148561"/>
            <a:ext cx="253914" cy="361208"/>
          </a:xfrm>
          <a:prstGeom prst="rect">
            <a:avLst/>
          </a:prstGeom>
        </p:spPr>
        <p:txBody>
          <a:bodyPr/>
          <a:lstStyle>
            <a:lvl1pPr marL="0" indent="0" algn="ctr" defTabSz="899320" rtl="0" eaLnBrk="1" fontAlgn="base" hangingPunct="1">
              <a:lnSpc>
                <a:spcPct val="110000"/>
              </a:lnSpc>
              <a:spcBef>
                <a:spcPts val="889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900">
                <a:solidFill>
                  <a:srgbClr val="9F9FA0"/>
                </a:solidFill>
                <a:latin typeface="+mn-lt"/>
                <a:ea typeface="+mn-ea"/>
                <a:cs typeface="+mn-cs"/>
              </a:defRPr>
            </a:lvl1pPr>
            <a:lvl2pPr marL="403433" indent="-200316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5150" indent="-200316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5466" indent="-198915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8583" indent="-201717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13101" indent="-201717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235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09215" indent="-196113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235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13733" indent="-204518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235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15450" indent="-201717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22973A4-6277-5241-8E39-DB432109DA46}" type="slidenum">
              <a:rPr lang="en-US" sz="993" kern="0" smtClean="0"/>
              <a:t>‹#›</a:t>
            </a:fld>
            <a:endParaRPr lang="en-US" sz="993" kern="0"/>
          </a:p>
        </p:txBody>
      </p:sp>
    </p:spTree>
    <p:custDataLst>
      <p:tags r:id="rId53"/>
    </p:custDataLst>
    <p:extLst>
      <p:ext uri="{BB962C8B-B14F-4D97-AF65-F5344CB8AC3E}">
        <p14:creationId xmlns:p14="http://schemas.microsoft.com/office/powerpoint/2010/main" val="2845904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842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  <p:sldLayoutId id="2147483678" r:id="rId13"/>
    <p:sldLayoutId id="2147483679" r:id="rId14"/>
    <p:sldLayoutId id="2147483680" r:id="rId15"/>
    <p:sldLayoutId id="2147483681" r:id="rId16"/>
    <p:sldLayoutId id="2147483682" r:id="rId17"/>
    <p:sldLayoutId id="2147483683" r:id="rId18"/>
    <p:sldLayoutId id="2147483684" r:id="rId19"/>
    <p:sldLayoutId id="2147483685" r:id="rId20"/>
    <p:sldLayoutId id="2147483686" r:id="rId21"/>
    <p:sldLayoutId id="2147483687" r:id="rId22"/>
    <p:sldLayoutId id="2147483688" r:id="rId23"/>
    <p:sldLayoutId id="2147483689" r:id="rId24"/>
    <p:sldLayoutId id="2147483690" r:id="rId25"/>
    <p:sldLayoutId id="2147483691" r:id="rId26"/>
    <p:sldLayoutId id="2147483692" r:id="rId27"/>
    <p:sldLayoutId id="2147483693" r:id="rId28"/>
    <p:sldLayoutId id="2147483694" r:id="rId29"/>
    <p:sldLayoutId id="2147483695" r:id="rId30"/>
    <p:sldLayoutId id="2147483696" r:id="rId31"/>
    <p:sldLayoutId id="2147483697" r:id="rId32"/>
    <p:sldLayoutId id="2147483698" r:id="rId33"/>
    <p:sldLayoutId id="2147483699" r:id="rId34"/>
    <p:sldLayoutId id="2147483700" r:id="rId35"/>
    <p:sldLayoutId id="2147483701" r:id="rId36"/>
    <p:sldLayoutId id="2147483702" r:id="rId37"/>
    <p:sldLayoutId id="2147483703" r:id="rId38"/>
    <p:sldLayoutId id="2147483704" r:id="rId39"/>
    <p:sldLayoutId id="2147483705" r:id="rId40"/>
    <p:sldLayoutId id="2147483706" r:id="rId41"/>
    <p:sldLayoutId id="2147483707" r:id="rId42"/>
    <p:sldLayoutId id="2147483708" r:id="rId43"/>
    <p:sldLayoutId id="2147483709" r:id="rId44"/>
    <p:sldLayoutId id="2147483710" r:id="rId45"/>
    <p:sldLayoutId id="2147483753" r:id="rId46"/>
    <p:sldLayoutId id="2147483724" r:id="rId47"/>
    <p:sldLayoutId id="2147483728" r:id="rId48"/>
    <p:sldLayoutId id="2147483986" r:id="rId49"/>
    <p:sldLayoutId id="2147483988" r:id="rId50"/>
    <p:sldLayoutId id="2147483726" r:id="rId51"/>
  </p:sldLayoutIdLst>
  <p:hf hdr="0" ftr="0" dt="0"/>
  <p:txStyles>
    <p:titleStyle>
      <a:lvl1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+mj-lt"/>
          <a:ea typeface="+mj-ea"/>
          <a:cs typeface="+mj-cs"/>
        </a:defRPr>
      </a:lvl1pPr>
      <a:lvl2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44795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6pPr>
      <a:lvl7pPr marL="889594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7pPr>
      <a:lvl8pPr marL="1334390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8pPr>
      <a:lvl9pPr marL="1779186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9pPr>
    </p:titleStyle>
    <p:bodyStyle>
      <a:lvl1pPr marL="222400" indent="-222400" algn="l" defTabSz="991526" rtl="0" eaLnBrk="1" fontAlgn="base" hangingPunct="1">
        <a:lnSpc>
          <a:spcPct val="110000"/>
        </a:lnSpc>
        <a:spcBef>
          <a:spcPts val="980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44795" indent="-220854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5000"/>
        <a:buFont typeface="Wingdings 2" pitchFamily="18" charset="2"/>
        <a:buChar char="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67195" indent="-220854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" pitchFamily="2" charset="2"/>
        <a:buChar char="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88049" indent="-21931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0000"/>
        <a:buFont typeface="Wingdings 3" pitchFamily="18" charset="2"/>
        <a:buChar char="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111992" indent="-22240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337477" indent="-22240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5000"/>
        <a:buFont typeface="Wingdings 2" pitchFamily="18" charset="2"/>
        <a:buChar char="¡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1553698" indent="-21622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" pitchFamily="2" charset="2"/>
        <a:buChar char="w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1779186" indent="-225487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0000"/>
        <a:buFont typeface="Wingdings 3" pitchFamily="18" charset="2"/>
        <a:buChar char="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8pPr>
      <a:lvl9pPr marL="2001584" indent="-22240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1pPr>
      <a:lvl2pPr marL="444795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2pPr>
      <a:lvl3pPr marL="889594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3pPr>
      <a:lvl4pPr marL="1334390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4pPr>
      <a:lvl5pPr marL="1779186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5pPr>
      <a:lvl6pPr marL="2223981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6pPr>
      <a:lvl7pPr marL="2668779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7pPr>
      <a:lvl8pPr marL="3113575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8pPr>
      <a:lvl9pPr marL="3558370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696" userDrawn="1">
          <p15:clr>
            <a:srgbClr val="F26B43"/>
          </p15:clr>
        </p15:guide>
        <p15:guide id="2" pos="1782" userDrawn="1">
          <p15:clr>
            <a:srgbClr val="F26B43"/>
          </p15:clr>
        </p15:guide>
        <p15:guide id="4" pos="243" userDrawn="1">
          <p15:clr>
            <a:srgbClr val="F26B43"/>
          </p15:clr>
        </p15:guide>
        <p15:guide id="5" orient="horz" pos="1142" userDrawn="1">
          <p15:clr>
            <a:srgbClr val="F26B43"/>
          </p15:clr>
        </p15:guide>
        <p15:guide id="6" orient="horz" pos="1478" userDrawn="1">
          <p15:clr>
            <a:srgbClr val="F26B43"/>
          </p15:clr>
        </p15:guide>
        <p15:guide id="7" orient="horz" pos="5914" userDrawn="1">
          <p15:clr>
            <a:srgbClr val="F26B43"/>
          </p15:clr>
        </p15:guide>
        <p15:guide id="8" orient="horz" pos="6182" userDrawn="1">
          <p15:clr>
            <a:srgbClr val="F26B43"/>
          </p15:clr>
        </p15:guide>
        <p15:guide id="9" orient="horz" pos="6451" userDrawn="1">
          <p15:clr>
            <a:srgbClr val="F26B43"/>
          </p15:clr>
        </p15:guide>
        <p15:guide id="10" pos="4037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90" y="511180"/>
            <a:ext cx="5915025" cy="18557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90" y="2555875"/>
            <a:ext cx="5915025" cy="60918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8" y="8898899"/>
            <a:ext cx="154305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5/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5" y="8898899"/>
            <a:ext cx="2314575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Help at Hom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CC5EC52-0876-A44D-879F-5575DC2F2A6D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71" y="9137078"/>
            <a:ext cx="137405" cy="34137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A0E71D5B-4680-BD44-AC44-0749773CAD06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71" y="9137078"/>
            <a:ext cx="137405" cy="341376"/>
          </a:xfrm>
          <a:prstGeom prst="rect">
            <a:avLst/>
          </a:prstGeom>
        </p:spPr>
      </p:pic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807ED991-8C1F-3F48-BC94-36BB6871E1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215255" y="9052184"/>
            <a:ext cx="1543050" cy="511175"/>
          </a:xfrm>
          <a:prstGeom prst="rect">
            <a:avLst/>
          </a:prstGeom>
        </p:spPr>
        <p:txBody>
          <a:bodyPr/>
          <a:lstStyle>
            <a:lvl1pPr algn="r">
              <a:defRPr sz="1176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41354390-517E-9640-AC9D-8AF08224213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CC81780-0424-4C75-824C-A9240933BEB7}"/>
              </a:ext>
            </a:extLst>
          </p:cNvPr>
          <p:cNvSpPr/>
          <p:nvPr userDrawn="1"/>
        </p:nvSpPr>
        <p:spPr>
          <a:xfrm>
            <a:off x="0" y="0"/>
            <a:ext cx="6858000" cy="1166368"/>
          </a:xfrm>
          <a:prstGeom prst="rect">
            <a:avLst/>
          </a:prstGeom>
          <a:solidFill>
            <a:srgbClr val="97298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87"/>
          </a:p>
        </p:txBody>
      </p:sp>
    </p:spTree>
    <p:extLst>
      <p:ext uri="{BB962C8B-B14F-4D97-AF65-F5344CB8AC3E}">
        <p14:creationId xmlns:p14="http://schemas.microsoft.com/office/powerpoint/2010/main" val="1140234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2" r:id="rId8"/>
  </p:sldLayoutIdLst>
  <p:hf hdr="0" dt="0"/>
  <p:txStyles>
    <p:titleStyle>
      <a:lvl1pPr algn="l" defTabSz="1008125" rtl="0" eaLnBrk="1" latinLnBrk="0" hangingPunct="1">
        <a:lnSpc>
          <a:spcPct val="90000"/>
        </a:lnSpc>
        <a:spcBef>
          <a:spcPct val="0"/>
        </a:spcBef>
        <a:buNone/>
        <a:defRPr sz="485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2032" indent="-252032" algn="l" defTabSz="1008125" rtl="0" eaLnBrk="1" latinLnBrk="0" hangingPunct="1">
        <a:lnSpc>
          <a:spcPct val="90000"/>
        </a:lnSpc>
        <a:spcBef>
          <a:spcPts val="1103"/>
        </a:spcBef>
        <a:buFont typeface="Arial" panose="020B0604020202020204" pitchFamily="34" charset="0"/>
        <a:buChar char="•"/>
        <a:defRPr sz="3087" kern="1200">
          <a:solidFill>
            <a:schemeClr val="tx1"/>
          </a:solidFill>
          <a:latin typeface="+mn-lt"/>
          <a:ea typeface="+mn-ea"/>
          <a:cs typeface="+mn-cs"/>
        </a:defRPr>
      </a:lvl1pPr>
      <a:lvl2pPr marL="756095" indent="-252032" algn="l" defTabSz="1008125" rtl="0" eaLnBrk="1" latinLnBrk="0" hangingPunct="1">
        <a:lnSpc>
          <a:spcPct val="90000"/>
        </a:lnSpc>
        <a:spcBef>
          <a:spcPts val="552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2pPr>
      <a:lvl3pPr marL="1260157" indent="-252032" algn="l" defTabSz="1008125" rtl="0" eaLnBrk="1" latinLnBrk="0" hangingPunct="1">
        <a:lnSpc>
          <a:spcPct val="90000"/>
        </a:lnSpc>
        <a:spcBef>
          <a:spcPts val="552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3pPr>
      <a:lvl4pPr marL="1764221" indent="-252032" algn="l" defTabSz="1008125" rtl="0" eaLnBrk="1" latinLnBrk="0" hangingPunct="1">
        <a:lnSpc>
          <a:spcPct val="90000"/>
        </a:lnSpc>
        <a:spcBef>
          <a:spcPts val="552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268284" indent="-252032" algn="l" defTabSz="1008125" rtl="0" eaLnBrk="1" latinLnBrk="0" hangingPunct="1">
        <a:lnSpc>
          <a:spcPct val="90000"/>
        </a:lnSpc>
        <a:spcBef>
          <a:spcPts val="552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772346" indent="-252032" algn="l" defTabSz="1008125" rtl="0" eaLnBrk="1" latinLnBrk="0" hangingPunct="1">
        <a:lnSpc>
          <a:spcPct val="90000"/>
        </a:lnSpc>
        <a:spcBef>
          <a:spcPts val="552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276410" indent="-252032" algn="l" defTabSz="1008125" rtl="0" eaLnBrk="1" latinLnBrk="0" hangingPunct="1">
        <a:lnSpc>
          <a:spcPct val="90000"/>
        </a:lnSpc>
        <a:spcBef>
          <a:spcPts val="552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780473" indent="-252032" algn="l" defTabSz="1008125" rtl="0" eaLnBrk="1" latinLnBrk="0" hangingPunct="1">
        <a:lnSpc>
          <a:spcPct val="90000"/>
        </a:lnSpc>
        <a:spcBef>
          <a:spcPts val="552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284536" indent="-252032" algn="l" defTabSz="1008125" rtl="0" eaLnBrk="1" latinLnBrk="0" hangingPunct="1">
        <a:lnSpc>
          <a:spcPct val="90000"/>
        </a:lnSpc>
        <a:spcBef>
          <a:spcPts val="552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812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064" algn="l" defTabSz="100812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125" algn="l" defTabSz="100812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189" algn="l" defTabSz="100812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252" algn="l" defTabSz="100812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0316" algn="l" defTabSz="100812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4377" algn="l" defTabSz="100812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8441" algn="l" defTabSz="100812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2505" algn="l" defTabSz="100812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D82B8AD-EEC8-4136-B66D-203D133335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</p:nvPr>
        </p:nvGraphicFramePr>
        <p:xfrm>
          <a:off x="894" y="2223"/>
          <a:ext cx="894" cy="2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5" imgW="395" imgH="394" progId="TCLayout.ActiveDocument.1">
                  <p:embed/>
                </p:oleObj>
              </mc:Choice>
              <mc:Fallback>
                <p:oleObj name="think-cell Slide" r:id="rId5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D82B8AD-EEC8-4136-B66D-203D133335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894" y="2223"/>
                        <a:ext cx="894" cy="22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RACKINGCODE" hidden="1"/>
          <p:cNvSpPr txBox="1">
            <a:spLocks/>
          </p:cNvSpPr>
          <p:nvPr>
            <p:custDataLst>
              <p:tags r:id="rId51"/>
            </p:custDataLst>
          </p:nvPr>
        </p:nvSpPr>
        <p:spPr>
          <a:xfrm>
            <a:off x="467592" y="282388"/>
            <a:ext cx="5922819" cy="127675"/>
          </a:xfrm>
          <a:prstGeom prst="rect">
            <a:avLst/>
          </a:prstGeom>
        </p:spPr>
        <p:txBody>
          <a:bodyPr wrap="square" lIns="0" tIns="0" rIns="17791" bIns="17791">
            <a:spAutoFit/>
          </a:bodyPr>
          <a:lstStyle>
            <a:lvl1pPr marL="228600" indent="-228600" algn="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800" b="1">
                <a:solidFill>
                  <a:srgbClr val="00395C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 sz="682" b="0" ker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3" name="STAMP" hidden="1"/>
          <p:cNvSpPr txBox="1">
            <a:spLocks/>
          </p:cNvSpPr>
          <p:nvPr>
            <p:custDataLst>
              <p:tags r:id="rId52"/>
            </p:custDataLst>
          </p:nvPr>
        </p:nvSpPr>
        <p:spPr>
          <a:xfrm>
            <a:off x="5685905" y="203324"/>
            <a:ext cx="704504" cy="451821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 marL="228600" indent="-228600" algn="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800" b="1">
                <a:solidFill>
                  <a:srgbClr val="00395C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362" b="0" kern="0">
                <a:solidFill>
                  <a:srgbClr val="FF0000"/>
                </a:solidFill>
              </a:rPr>
              <a:t>STAMP</a:t>
            </a:r>
            <a:endParaRPr lang="en-US" sz="1362" b="0" kern="0" baseline="0">
              <a:solidFill>
                <a:srgbClr val="FF0000"/>
              </a:solidFill>
            </a:endParaRPr>
          </a:p>
        </p:txBody>
      </p:sp>
      <p:sp>
        <p:nvSpPr>
          <p:cNvPr id="7" name="CLOGO"/>
          <p:cNvSpPr txBox="1">
            <a:spLocks/>
          </p:cNvSpPr>
          <p:nvPr>
            <p:custDataLst>
              <p:tags r:id="rId53"/>
            </p:custDataLst>
          </p:nvPr>
        </p:nvSpPr>
        <p:spPr>
          <a:xfrm>
            <a:off x="4675909" y="8754035"/>
            <a:ext cx="1714500" cy="6777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0" rIns="17791" bIns="17791" anchor="ctr" anchorCtr="0"/>
          <a:lstStyle>
            <a:lvl1pPr marL="0" indent="0" algn="ct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62" kern="0">
              <a:ln>
                <a:solidFill>
                  <a:sysClr val="windowText" lastClr="000000"/>
                </a:solidFill>
              </a:ln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EB6E65D-DF3A-6F4D-B1C5-3FC3D06287EF}"/>
              </a:ext>
            </a:extLst>
          </p:cNvPr>
          <p:cNvPicPr>
            <a:picLocks noChangeAspect="1"/>
          </p:cNvPicPr>
          <p:nvPr userDrawn="1"/>
        </p:nvPicPr>
        <p:blipFill>
          <a:blip r:embed="rId5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6349" y="8919702"/>
            <a:ext cx="456057" cy="512064"/>
          </a:xfrm>
          <a:prstGeom prst="rect">
            <a:avLst/>
          </a:prstGeom>
        </p:spPr>
      </p:pic>
      <p:sp>
        <p:nvSpPr>
          <p:cNvPr id="6" name="PAGENUMBER">
            <a:extLst>
              <a:ext uri="{FF2B5EF4-FFF2-40B4-BE49-F238E27FC236}">
                <a16:creationId xmlns:a16="http://schemas.microsoft.com/office/drawing/2014/main" id="{6B135FA2-0643-B449-8A26-B5096B8A2EE9}"/>
              </a:ext>
            </a:extLst>
          </p:cNvPr>
          <p:cNvSpPr txBox="1">
            <a:spLocks/>
          </p:cNvSpPr>
          <p:nvPr userDrawn="1">
            <p:custDataLst>
              <p:tags r:id="rId54"/>
            </p:custDataLst>
          </p:nvPr>
        </p:nvSpPr>
        <p:spPr>
          <a:xfrm>
            <a:off x="6604086" y="9148561"/>
            <a:ext cx="253914" cy="361208"/>
          </a:xfrm>
          <a:prstGeom prst="rect">
            <a:avLst/>
          </a:prstGeom>
        </p:spPr>
        <p:txBody>
          <a:bodyPr/>
          <a:lstStyle>
            <a:lvl1pPr marL="0" indent="0" algn="ctr" defTabSz="899320" rtl="0" eaLnBrk="1" fontAlgn="base" hangingPunct="1">
              <a:lnSpc>
                <a:spcPct val="110000"/>
              </a:lnSpc>
              <a:spcBef>
                <a:spcPts val="889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900">
                <a:solidFill>
                  <a:srgbClr val="9F9FA0"/>
                </a:solidFill>
                <a:latin typeface="+mn-lt"/>
                <a:ea typeface="+mn-ea"/>
                <a:cs typeface="+mn-cs"/>
              </a:defRPr>
            </a:lvl1pPr>
            <a:lvl2pPr marL="403433" indent="-200316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5150" indent="-200316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5466" indent="-198915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8583" indent="-201717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13101" indent="-201717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235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09215" indent="-196113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235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13733" indent="-204518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235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15450" indent="-201717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22973A4-6277-5241-8E39-DB432109DA46}" type="slidenum">
              <a:rPr lang="en-US" sz="993" kern="0" smtClean="0"/>
              <a:t>‹#›</a:t>
            </a:fld>
            <a:endParaRPr lang="en-US" sz="993" kern="0"/>
          </a:p>
        </p:txBody>
      </p:sp>
    </p:spTree>
    <p:custDataLst>
      <p:tags r:id="rId49"/>
    </p:custDataLst>
    <p:extLst>
      <p:ext uri="{BB962C8B-B14F-4D97-AF65-F5344CB8AC3E}">
        <p14:creationId xmlns:p14="http://schemas.microsoft.com/office/powerpoint/2010/main" val="1256567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  <p:sldLayoutId id="2147483783" r:id="rId11"/>
    <p:sldLayoutId id="2147483784" r:id="rId12"/>
    <p:sldLayoutId id="2147483785" r:id="rId13"/>
    <p:sldLayoutId id="2147483786" r:id="rId14"/>
    <p:sldLayoutId id="2147483787" r:id="rId15"/>
    <p:sldLayoutId id="2147483788" r:id="rId16"/>
    <p:sldLayoutId id="2147483789" r:id="rId17"/>
    <p:sldLayoutId id="2147483790" r:id="rId18"/>
    <p:sldLayoutId id="2147483791" r:id="rId19"/>
    <p:sldLayoutId id="2147483792" r:id="rId20"/>
    <p:sldLayoutId id="2147483793" r:id="rId21"/>
    <p:sldLayoutId id="2147483794" r:id="rId22"/>
    <p:sldLayoutId id="2147483795" r:id="rId23"/>
    <p:sldLayoutId id="2147483796" r:id="rId24"/>
    <p:sldLayoutId id="2147483797" r:id="rId25"/>
    <p:sldLayoutId id="2147483798" r:id="rId26"/>
    <p:sldLayoutId id="2147483799" r:id="rId27"/>
    <p:sldLayoutId id="2147483800" r:id="rId28"/>
    <p:sldLayoutId id="2147483801" r:id="rId29"/>
    <p:sldLayoutId id="2147483802" r:id="rId30"/>
    <p:sldLayoutId id="2147483803" r:id="rId31"/>
    <p:sldLayoutId id="2147483804" r:id="rId32"/>
    <p:sldLayoutId id="2147483805" r:id="rId33"/>
    <p:sldLayoutId id="2147483806" r:id="rId34"/>
    <p:sldLayoutId id="2147483807" r:id="rId35"/>
    <p:sldLayoutId id="2147483808" r:id="rId36"/>
    <p:sldLayoutId id="2147483809" r:id="rId37"/>
    <p:sldLayoutId id="2147483810" r:id="rId38"/>
    <p:sldLayoutId id="2147483811" r:id="rId39"/>
    <p:sldLayoutId id="2147483812" r:id="rId40"/>
    <p:sldLayoutId id="2147483813" r:id="rId41"/>
    <p:sldLayoutId id="2147483814" r:id="rId42"/>
    <p:sldLayoutId id="2147483815" r:id="rId43"/>
    <p:sldLayoutId id="2147483816" r:id="rId44"/>
    <p:sldLayoutId id="2147483817" r:id="rId45"/>
    <p:sldLayoutId id="2147483819" r:id="rId46"/>
    <p:sldLayoutId id="2147483886" r:id="rId47"/>
  </p:sldLayoutIdLst>
  <p:hf hdr="0" ftr="0" dt="0"/>
  <p:txStyles>
    <p:titleStyle>
      <a:lvl1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+mj-lt"/>
          <a:ea typeface="+mj-ea"/>
          <a:cs typeface="+mj-cs"/>
        </a:defRPr>
      </a:lvl1pPr>
      <a:lvl2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44795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6pPr>
      <a:lvl7pPr marL="889594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7pPr>
      <a:lvl8pPr marL="1334390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8pPr>
      <a:lvl9pPr marL="1779186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9pPr>
    </p:titleStyle>
    <p:bodyStyle>
      <a:lvl1pPr marL="222400" indent="-222400" algn="l" defTabSz="991526" rtl="0" eaLnBrk="1" fontAlgn="base" hangingPunct="1">
        <a:lnSpc>
          <a:spcPct val="110000"/>
        </a:lnSpc>
        <a:spcBef>
          <a:spcPts val="980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44795" indent="-220854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5000"/>
        <a:buFont typeface="Wingdings 2" pitchFamily="18" charset="2"/>
        <a:buChar char="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67195" indent="-220854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" pitchFamily="2" charset="2"/>
        <a:buChar char="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88049" indent="-21931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0000"/>
        <a:buFont typeface="Wingdings 3" pitchFamily="18" charset="2"/>
        <a:buChar char="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111992" indent="-22240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337477" indent="-22240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5000"/>
        <a:buFont typeface="Wingdings 2" pitchFamily="18" charset="2"/>
        <a:buChar char="¡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1553698" indent="-21622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" pitchFamily="2" charset="2"/>
        <a:buChar char="w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1779186" indent="-225487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0000"/>
        <a:buFont typeface="Wingdings 3" pitchFamily="18" charset="2"/>
        <a:buChar char="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8pPr>
      <a:lvl9pPr marL="2001584" indent="-22240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1pPr>
      <a:lvl2pPr marL="444795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2pPr>
      <a:lvl3pPr marL="889594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3pPr>
      <a:lvl4pPr marL="1334390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4pPr>
      <a:lvl5pPr marL="1779186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5pPr>
      <a:lvl6pPr marL="2223981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6pPr>
      <a:lvl7pPr marL="2668779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7pPr>
      <a:lvl8pPr marL="3113575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8pPr>
      <a:lvl9pPr marL="3558370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696" userDrawn="1">
          <p15:clr>
            <a:srgbClr val="F26B43"/>
          </p15:clr>
        </p15:guide>
        <p15:guide id="2" pos="1782" userDrawn="1">
          <p15:clr>
            <a:srgbClr val="F26B43"/>
          </p15:clr>
        </p15:guide>
        <p15:guide id="4" pos="243" userDrawn="1">
          <p15:clr>
            <a:srgbClr val="F26B43"/>
          </p15:clr>
        </p15:guide>
        <p15:guide id="5" orient="horz" pos="1142" userDrawn="1">
          <p15:clr>
            <a:srgbClr val="F26B43"/>
          </p15:clr>
        </p15:guide>
        <p15:guide id="6" orient="horz" pos="1478" userDrawn="1">
          <p15:clr>
            <a:srgbClr val="F26B43"/>
          </p15:clr>
        </p15:guide>
        <p15:guide id="7" orient="horz" pos="5914" userDrawn="1">
          <p15:clr>
            <a:srgbClr val="F26B43"/>
          </p15:clr>
        </p15:guide>
        <p15:guide id="8" orient="horz" pos="6182" userDrawn="1">
          <p15:clr>
            <a:srgbClr val="F26B43"/>
          </p15:clr>
        </p15:guide>
        <p15:guide id="9" orient="horz" pos="6451" userDrawn="1">
          <p15:clr>
            <a:srgbClr val="F26B43"/>
          </p15:clr>
        </p15:guide>
        <p15:guide id="10" pos="4037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RACKINGCODE" hidden="1"/>
          <p:cNvSpPr txBox="1">
            <a:spLocks/>
          </p:cNvSpPr>
          <p:nvPr>
            <p:custDataLst>
              <p:tags r:id="rId50"/>
            </p:custDataLst>
          </p:nvPr>
        </p:nvSpPr>
        <p:spPr>
          <a:xfrm>
            <a:off x="467592" y="282393"/>
            <a:ext cx="5922819" cy="127675"/>
          </a:xfrm>
          <a:prstGeom prst="rect">
            <a:avLst/>
          </a:prstGeom>
        </p:spPr>
        <p:txBody>
          <a:bodyPr wrap="square" lIns="0" tIns="0" rIns="17791" bIns="17791">
            <a:spAutoFit/>
          </a:bodyPr>
          <a:lstStyle>
            <a:lvl1pPr marL="228600" indent="-228600" algn="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800" b="1">
                <a:solidFill>
                  <a:srgbClr val="00395C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 sz="682" b="0" ker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3" name="STAMP" hidden="1"/>
          <p:cNvSpPr txBox="1">
            <a:spLocks/>
          </p:cNvSpPr>
          <p:nvPr>
            <p:custDataLst>
              <p:tags r:id="rId51"/>
            </p:custDataLst>
          </p:nvPr>
        </p:nvSpPr>
        <p:spPr>
          <a:xfrm>
            <a:off x="5685907" y="203328"/>
            <a:ext cx="704504" cy="451821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 marL="228600" indent="-228600" algn="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800" b="1">
                <a:solidFill>
                  <a:srgbClr val="00395C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362" b="0" kern="0">
                <a:solidFill>
                  <a:srgbClr val="FF0000"/>
                </a:solidFill>
              </a:rPr>
              <a:t>STAMP</a:t>
            </a:r>
            <a:endParaRPr lang="en-US" sz="1362" b="0" kern="0" baseline="0">
              <a:solidFill>
                <a:srgbClr val="FF0000"/>
              </a:solidFill>
            </a:endParaRPr>
          </a:p>
        </p:txBody>
      </p:sp>
      <p:sp>
        <p:nvSpPr>
          <p:cNvPr id="7" name="CLOGO"/>
          <p:cNvSpPr txBox="1">
            <a:spLocks/>
          </p:cNvSpPr>
          <p:nvPr>
            <p:custDataLst>
              <p:tags r:id="rId52"/>
            </p:custDataLst>
          </p:nvPr>
        </p:nvSpPr>
        <p:spPr>
          <a:xfrm>
            <a:off x="4675909" y="8754043"/>
            <a:ext cx="1714500" cy="6777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0" rIns="17791" bIns="17791" anchor="ctr" anchorCtr="0"/>
          <a:lstStyle>
            <a:lvl1pPr marL="0" indent="0" algn="ct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62" kern="0">
              <a:ln>
                <a:solidFill>
                  <a:sysClr val="windowText" lastClr="000000"/>
                </a:solidFill>
              </a:ln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EB6E65D-DF3A-6F4D-B1C5-3FC3D06287EF}"/>
              </a:ext>
            </a:extLst>
          </p:cNvPr>
          <p:cNvPicPr>
            <a:picLocks noChangeAspect="1"/>
          </p:cNvPicPr>
          <p:nvPr/>
        </p:nvPicPr>
        <p:blipFill>
          <a:blip r:embed="rId5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6349" y="8919702"/>
            <a:ext cx="456057" cy="512064"/>
          </a:xfrm>
          <a:prstGeom prst="rect">
            <a:avLst/>
          </a:prstGeom>
        </p:spPr>
      </p:pic>
      <p:sp>
        <p:nvSpPr>
          <p:cNvPr id="6" name="PAGENUMBER">
            <a:extLst>
              <a:ext uri="{FF2B5EF4-FFF2-40B4-BE49-F238E27FC236}">
                <a16:creationId xmlns:a16="http://schemas.microsoft.com/office/drawing/2014/main" id="{6B135FA2-0643-B449-8A26-B5096B8A2EE9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>
          <a:xfrm>
            <a:off x="6604086" y="9148568"/>
            <a:ext cx="253914" cy="361210"/>
          </a:xfrm>
          <a:prstGeom prst="rect">
            <a:avLst/>
          </a:prstGeom>
        </p:spPr>
        <p:txBody>
          <a:bodyPr/>
          <a:lstStyle>
            <a:lvl1pPr marL="0" indent="0" algn="ctr" defTabSz="899320" rtl="0" eaLnBrk="1" fontAlgn="base" hangingPunct="1">
              <a:lnSpc>
                <a:spcPct val="110000"/>
              </a:lnSpc>
              <a:spcBef>
                <a:spcPts val="889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900">
                <a:solidFill>
                  <a:srgbClr val="9F9FA0"/>
                </a:solidFill>
                <a:latin typeface="+mn-lt"/>
                <a:ea typeface="+mn-ea"/>
                <a:cs typeface="+mn-cs"/>
              </a:defRPr>
            </a:lvl1pPr>
            <a:lvl2pPr marL="403433" indent="-200316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5150" indent="-200316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5466" indent="-198915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8583" indent="-201717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13101" indent="-201717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235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09215" indent="-196113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235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13733" indent="-204518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235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15450" indent="-201717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22973A4-6277-5241-8E39-DB432109DA46}" type="slidenum">
              <a:rPr lang="en-US" sz="993" kern="0" smtClean="0"/>
              <a:t>‹#›</a:t>
            </a:fld>
            <a:endParaRPr lang="en-US" sz="993" kern="0"/>
          </a:p>
        </p:txBody>
      </p:sp>
    </p:spTree>
    <p:custDataLst>
      <p:tags r:id="rId49"/>
    </p:custDataLst>
    <p:extLst>
      <p:ext uri="{BB962C8B-B14F-4D97-AF65-F5344CB8AC3E}">
        <p14:creationId xmlns:p14="http://schemas.microsoft.com/office/powerpoint/2010/main" val="11357152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8" r:id="rId1"/>
    <p:sldLayoutId id="2147483889" r:id="rId2"/>
    <p:sldLayoutId id="2147483890" r:id="rId3"/>
    <p:sldLayoutId id="2147483891" r:id="rId4"/>
    <p:sldLayoutId id="2147483892" r:id="rId5"/>
    <p:sldLayoutId id="2147483893" r:id="rId6"/>
    <p:sldLayoutId id="2147483894" r:id="rId7"/>
    <p:sldLayoutId id="2147483895" r:id="rId8"/>
    <p:sldLayoutId id="2147483896" r:id="rId9"/>
    <p:sldLayoutId id="2147483897" r:id="rId10"/>
    <p:sldLayoutId id="2147483898" r:id="rId11"/>
    <p:sldLayoutId id="2147483899" r:id="rId12"/>
    <p:sldLayoutId id="2147483900" r:id="rId13"/>
    <p:sldLayoutId id="2147483901" r:id="rId14"/>
    <p:sldLayoutId id="2147483902" r:id="rId15"/>
    <p:sldLayoutId id="2147483903" r:id="rId16"/>
    <p:sldLayoutId id="2147483904" r:id="rId17"/>
    <p:sldLayoutId id="2147483905" r:id="rId18"/>
    <p:sldLayoutId id="2147483906" r:id="rId19"/>
    <p:sldLayoutId id="2147483907" r:id="rId20"/>
    <p:sldLayoutId id="2147483908" r:id="rId21"/>
    <p:sldLayoutId id="2147483909" r:id="rId22"/>
    <p:sldLayoutId id="2147483910" r:id="rId23"/>
    <p:sldLayoutId id="2147483911" r:id="rId24"/>
    <p:sldLayoutId id="2147483912" r:id="rId25"/>
    <p:sldLayoutId id="2147483913" r:id="rId26"/>
    <p:sldLayoutId id="2147483914" r:id="rId27"/>
    <p:sldLayoutId id="2147483915" r:id="rId28"/>
    <p:sldLayoutId id="2147483916" r:id="rId29"/>
    <p:sldLayoutId id="2147483917" r:id="rId30"/>
    <p:sldLayoutId id="2147483918" r:id="rId31"/>
    <p:sldLayoutId id="2147483919" r:id="rId32"/>
    <p:sldLayoutId id="2147483920" r:id="rId33"/>
    <p:sldLayoutId id="2147483921" r:id="rId34"/>
    <p:sldLayoutId id="2147483922" r:id="rId35"/>
    <p:sldLayoutId id="2147483923" r:id="rId36"/>
    <p:sldLayoutId id="2147483924" r:id="rId37"/>
    <p:sldLayoutId id="2147483925" r:id="rId38"/>
    <p:sldLayoutId id="2147483926" r:id="rId39"/>
    <p:sldLayoutId id="2147483927" r:id="rId40"/>
    <p:sldLayoutId id="2147483928" r:id="rId41"/>
    <p:sldLayoutId id="2147483929" r:id="rId42"/>
    <p:sldLayoutId id="2147483930" r:id="rId43"/>
    <p:sldLayoutId id="2147483931" r:id="rId44"/>
    <p:sldLayoutId id="2147483932" r:id="rId45"/>
    <p:sldLayoutId id="2147483933" r:id="rId46"/>
    <p:sldLayoutId id="2147483937" r:id="rId47"/>
  </p:sldLayoutIdLst>
  <p:hf hdr="0" ftr="0" dt="0"/>
  <p:txStyles>
    <p:titleStyle>
      <a:lvl1pPr algn="l" defTabSz="99150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+mj-lt"/>
          <a:ea typeface="+mj-ea"/>
          <a:cs typeface="+mj-cs"/>
        </a:defRPr>
      </a:lvl1pPr>
      <a:lvl2pPr algn="l" defTabSz="99150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defTabSz="99150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defTabSz="99150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defTabSz="99150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44784" algn="l" defTabSz="99150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6pPr>
      <a:lvl7pPr marL="889570" algn="l" defTabSz="99150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7pPr>
      <a:lvl8pPr marL="1334355" algn="l" defTabSz="99150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8pPr>
      <a:lvl9pPr marL="1779141" algn="l" defTabSz="99150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9pPr>
    </p:titleStyle>
    <p:bodyStyle>
      <a:lvl1pPr marL="222394" indent="-222394" algn="l" defTabSz="991501" rtl="0" eaLnBrk="1" fontAlgn="base" hangingPunct="1">
        <a:lnSpc>
          <a:spcPct val="110000"/>
        </a:lnSpc>
        <a:spcBef>
          <a:spcPts val="980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44784" indent="-220849" algn="l" defTabSz="991501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5000"/>
        <a:buFont typeface="Wingdings 2" pitchFamily="18" charset="2"/>
        <a:buChar char="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67180" indent="-220849" algn="l" defTabSz="991501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" pitchFamily="2" charset="2"/>
        <a:buChar char="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88027" indent="-219304" algn="l" defTabSz="991501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0000"/>
        <a:buFont typeface="Wingdings 3" pitchFamily="18" charset="2"/>
        <a:buChar char="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111961" indent="-222394" algn="l" defTabSz="991501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337442" indent="-222394" algn="l" defTabSz="991501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5000"/>
        <a:buFont typeface="Wingdings 2" pitchFamily="18" charset="2"/>
        <a:buChar char="¡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1553658" indent="-216215" algn="l" defTabSz="991501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" pitchFamily="2" charset="2"/>
        <a:buChar char="w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1779141" indent="-225483" algn="l" defTabSz="991501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0000"/>
        <a:buFont typeface="Wingdings 3" pitchFamily="18" charset="2"/>
        <a:buChar char="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8pPr>
      <a:lvl9pPr marL="2001534" indent="-222394" algn="l" defTabSz="991501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89570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1pPr>
      <a:lvl2pPr marL="444784" algn="l" defTabSz="889570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2pPr>
      <a:lvl3pPr marL="889570" algn="l" defTabSz="889570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3pPr>
      <a:lvl4pPr marL="1334355" algn="l" defTabSz="889570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4pPr>
      <a:lvl5pPr marL="1779141" algn="l" defTabSz="889570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5pPr>
      <a:lvl6pPr marL="2223927" algn="l" defTabSz="889570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6pPr>
      <a:lvl7pPr marL="2668712" algn="l" defTabSz="889570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7pPr>
      <a:lvl8pPr marL="3113498" algn="l" defTabSz="889570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8pPr>
      <a:lvl9pPr marL="3558283" algn="l" defTabSz="889570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928" userDrawn="1">
          <p15:clr>
            <a:srgbClr val="F26B43"/>
          </p15:clr>
        </p15:guide>
        <p15:guide id="2" pos="2376" userDrawn="1">
          <p15:clr>
            <a:srgbClr val="F26B43"/>
          </p15:clr>
        </p15:guide>
        <p15:guide id="4" pos="324" userDrawn="1">
          <p15:clr>
            <a:srgbClr val="F26B43"/>
          </p15:clr>
        </p15:guide>
        <p15:guide id="5" orient="horz" pos="1523" userDrawn="1">
          <p15:clr>
            <a:srgbClr val="F26B43"/>
          </p15:clr>
        </p15:guide>
        <p15:guide id="6" orient="horz" pos="1971" userDrawn="1">
          <p15:clr>
            <a:srgbClr val="F26B43"/>
          </p15:clr>
        </p15:guide>
        <p15:guide id="7" orient="horz" pos="7885" userDrawn="1">
          <p15:clr>
            <a:srgbClr val="F26B43"/>
          </p15:clr>
        </p15:guide>
        <p15:guide id="8" orient="horz" pos="8243" userDrawn="1">
          <p15:clr>
            <a:srgbClr val="F26B43"/>
          </p15:clr>
        </p15:guide>
        <p15:guide id="9" orient="horz" pos="8602" userDrawn="1">
          <p15:clr>
            <a:srgbClr val="F26B43"/>
          </p15:clr>
        </p15:guide>
        <p15:guide id="10" pos="538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8.xml"/><Relationship Id="rId5" Type="http://schemas.openxmlformats.org/officeDocument/2006/relationships/image" Target="../media/image30.png"/><Relationship Id="rId4" Type="http://schemas.openxmlformats.org/officeDocument/2006/relationships/image" Target="../media/image27.sv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jpeg"/><Relationship Id="rId3" Type="http://schemas.openxmlformats.org/officeDocument/2006/relationships/image" Target="../media/image38.jpe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55.png"/><Relationship Id="rId5" Type="http://schemas.openxmlformats.org/officeDocument/2006/relationships/image" Target="../media/image27.svg"/><Relationship Id="rId4" Type="http://schemas.openxmlformats.org/officeDocument/2006/relationships/image" Target="../media/image26.png"/><Relationship Id="rId9" Type="http://schemas.openxmlformats.org/officeDocument/2006/relationships/image" Target="../media/image78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png"/><Relationship Id="rId3" Type="http://schemas.openxmlformats.org/officeDocument/2006/relationships/image" Target="../media/image38.jpeg"/><Relationship Id="rId7" Type="http://schemas.openxmlformats.org/officeDocument/2006/relationships/image" Target="../media/image7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55.png"/><Relationship Id="rId5" Type="http://schemas.openxmlformats.org/officeDocument/2006/relationships/image" Target="../media/image27.svg"/><Relationship Id="rId4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3" Type="http://schemas.openxmlformats.org/officeDocument/2006/relationships/image" Target="../media/image26.pn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55.png"/><Relationship Id="rId5" Type="http://schemas.openxmlformats.org/officeDocument/2006/relationships/image" Target="../media/image38.jpeg"/><Relationship Id="rId4" Type="http://schemas.openxmlformats.org/officeDocument/2006/relationships/image" Target="../media/image27.svg"/><Relationship Id="rId9" Type="http://schemas.openxmlformats.org/officeDocument/2006/relationships/image" Target="../media/image8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7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55.png"/><Relationship Id="rId5" Type="http://schemas.openxmlformats.org/officeDocument/2006/relationships/image" Target="../media/image38.jpeg"/><Relationship Id="rId4" Type="http://schemas.openxmlformats.org/officeDocument/2006/relationships/image" Target="../media/image27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jpeg"/><Relationship Id="rId3" Type="http://schemas.microsoft.com/office/2018/10/relationships/comments" Target="../comments/modernComment_118_527D1172.xml"/><Relationship Id="rId7" Type="http://schemas.openxmlformats.org/officeDocument/2006/relationships/image" Target="../media/image32.png"/><Relationship Id="rId12" Type="http://schemas.openxmlformats.org/officeDocument/2006/relationships/image" Target="../media/image8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38.jpeg"/><Relationship Id="rId11" Type="http://schemas.openxmlformats.org/officeDocument/2006/relationships/image" Target="../media/image85.png"/><Relationship Id="rId5" Type="http://schemas.openxmlformats.org/officeDocument/2006/relationships/image" Target="../media/image27.svg"/><Relationship Id="rId10" Type="http://schemas.openxmlformats.org/officeDocument/2006/relationships/image" Target="../media/image55.png"/><Relationship Id="rId4" Type="http://schemas.openxmlformats.org/officeDocument/2006/relationships/image" Target="../media/image26.png"/><Relationship Id="rId9" Type="http://schemas.openxmlformats.org/officeDocument/2006/relationships/image" Target="../media/image84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s://support.helpathome.com/hc/en-us/sections/24187486993687-Caregiver-Connect" TargetMode="External"/><Relationship Id="rId3" Type="http://schemas.openxmlformats.org/officeDocument/2006/relationships/image" Target="../media/image87.jpeg"/><Relationship Id="rId7" Type="http://schemas.openxmlformats.org/officeDocument/2006/relationships/hyperlink" Target="https://play.google.com/store/apps/details?id=com.helpathome.caregiver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58.xml"/><Relationship Id="rId6" Type="http://schemas.openxmlformats.org/officeDocument/2006/relationships/hyperlink" Target="https://apps.apple.com/us/app/help-at-home-caregiver/id6497407914" TargetMode="External"/><Relationship Id="rId5" Type="http://schemas.openxmlformats.org/officeDocument/2006/relationships/image" Target="../media/image27.svg"/><Relationship Id="rId4" Type="http://schemas.openxmlformats.org/officeDocument/2006/relationships/image" Target="../media/image26.png"/><Relationship Id="rId9" Type="http://schemas.openxmlformats.org/officeDocument/2006/relationships/hyperlink" Target="https://support.helpathome.com/hc/en-us/articles/24626994924055-Caregiver-Connect-Training-Videos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13" Type="http://schemas.openxmlformats.org/officeDocument/2006/relationships/image" Target="../media/image37.png"/><Relationship Id="rId3" Type="http://schemas.openxmlformats.org/officeDocument/2006/relationships/image" Target="../media/image31.jpeg"/><Relationship Id="rId7" Type="http://schemas.openxmlformats.org/officeDocument/2006/relationships/image" Target="../media/image32.png"/><Relationship Id="rId12" Type="http://schemas.openxmlformats.org/officeDocument/2006/relationships/image" Target="../media/image3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27.svg"/><Relationship Id="rId11" Type="http://schemas.openxmlformats.org/officeDocument/2006/relationships/hyperlink" Target="https://play.google.com/store/apps/details?id=com.helpathome.caregiver" TargetMode="External"/><Relationship Id="rId5" Type="http://schemas.openxmlformats.org/officeDocument/2006/relationships/image" Target="../media/image26.png"/><Relationship Id="rId10" Type="http://schemas.openxmlformats.org/officeDocument/2006/relationships/image" Target="../media/image35.png"/><Relationship Id="rId4" Type="http://schemas.openxmlformats.org/officeDocument/2006/relationships/hyperlink" Target="https://apps.apple.com/us/app/help-at-home-caregiver/id6497407914" TargetMode="External"/><Relationship Id="rId9" Type="http://schemas.openxmlformats.org/officeDocument/2006/relationships/image" Target="../media/image3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13" Type="http://schemas.openxmlformats.org/officeDocument/2006/relationships/image" Target="../media/image45.jpeg"/><Relationship Id="rId3" Type="http://schemas.openxmlformats.org/officeDocument/2006/relationships/image" Target="../media/image26.png"/><Relationship Id="rId7" Type="http://schemas.openxmlformats.org/officeDocument/2006/relationships/image" Target="../media/image39.jpeg"/><Relationship Id="rId12" Type="http://schemas.openxmlformats.org/officeDocument/2006/relationships/image" Target="../media/image4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32.png"/><Relationship Id="rId11" Type="http://schemas.openxmlformats.org/officeDocument/2006/relationships/image" Target="../media/image43.jpeg"/><Relationship Id="rId5" Type="http://schemas.openxmlformats.org/officeDocument/2006/relationships/image" Target="../media/image38.jpeg"/><Relationship Id="rId10" Type="http://schemas.openxmlformats.org/officeDocument/2006/relationships/image" Target="../media/image42.jpeg"/><Relationship Id="rId4" Type="http://schemas.openxmlformats.org/officeDocument/2006/relationships/image" Target="../media/image27.svg"/><Relationship Id="rId9" Type="http://schemas.openxmlformats.org/officeDocument/2006/relationships/image" Target="../media/image41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13" Type="http://schemas.openxmlformats.org/officeDocument/2006/relationships/image" Target="../media/image54.png"/><Relationship Id="rId3" Type="http://schemas.openxmlformats.org/officeDocument/2006/relationships/image" Target="../media/image26.png"/><Relationship Id="rId7" Type="http://schemas.openxmlformats.org/officeDocument/2006/relationships/image" Target="../media/image48.jpeg"/><Relationship Id="rId12" Type="http://schemas.openxmlformats.org/officeDocument/2006/relationships/image" Target="../media/image5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47.svg"/><Relationship Id="rId11" Type="http://schemas.openxmlformats.org/officeDocument/2006/relationships/image" Target="../media/image52.png"/><Relationship Id="rId5" Type="http://schemas.openxmlformats.org/officeDocument/2006/relationships/image" Target="../media/image46.png"/><Relationship Id="rId10" Type="http://schemas.openxmlformats.org/officeDocument/2006/relationships/image" Target="../media/image51.png"/><Relationship Id="rId4" Type="http://schemas.openxmlformats.org/officeDocument/2006/relationships/image" Target="../media/image27.svg"/><Relationship Id="rId9" Type="http://schemas.openxmlformats.org/officeDocument/2006/relationships/image" Target="../media/image50.png"/><Relationship Id="rId14" Type="http://schemas.openxmlformats.org/officeDocument/2006/relationships/image" Target="../media/image5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13" Type="http://schemas.openxmlformats.org/officeDocument/2006/relationships/image" Target="../media/image60.png"/><Relationship Id="rId18" Type="http://schemas.openxmlformats.org/officeDocument/2006/relationships/image" Target="../media/image65.svg"/><Relationship Id="rId3" Type="http://schemas.openxmlformats.org/officeDocument/2006/relationships/image" Target="../media/image26.png"/><Relationship Id="rId7" Type="http://schemas.openxmlformats.org/officeDocument/2006/relationships/image" Target="../media/image48.jpeg"/><Relationship Id="rId12" Type="http://schemas.openxmlformats.org/officeDocument/2006/relationships/image" Target="../media/image59.svg"/><Relationship Id="rId17" Type="http://schemas.openxmlformats.org/officeDocument/2006/relationships/image" Target="../media/image64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63.svg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47.svg"/><Relationship Id="rId11" Type="http://schemas.openxmlformats.org/officeDocument/2006/relationships/image" Target="../media/image58.png"/><Relationship Id="rId5" Type="http://schemas.openxmlformats.org/officeDocument/2006/relationships/image" Target="../media/image46.png"/><Relationship Id="rId15" Type="http://schemas.openxmlformats.org/officeDocument/2006/relationships/image" Target="../media/image62.png"/><Relationship Id="rId10" Type="http://schemas.openxmlformats.org/officeDocument/2006/relationships/image" Target="../media/image57.svg"/><Relationship Id="rId4" Type="http://schemas.openxmlformats.org/officeDocument/2006/relationships/image" Target="../media/image27.svg"/><Relationship Id="rId9" Type="http://schemas.openxmlformats.org/officeDocument/2006/relationships/image" Target="../media/image56.png"/><Relationship Id="rId14" Type="http://schemas.openxmlformats.org/officeDocument/2006/relationships/image" Target="../media/image61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3" Type="http://schemas.microsoft.com/office/2018/10/relationships/comments" Target="../comments/modernComment_120_86DA3036.xml"/><Relationship Id="rId7" Type="http://schemas.openxmlformats.org/officeDocument/2006/relationships/image" Target="../media/image6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66.png"/><Relationship Id="rId5" Type="http://schemas.openxmlformats.org/officeDocument/2006/relationships/image" Target="../media/image38.jpeg"/><Relationship Id="rId4" Type="http://schemas.openxmlformats.org/officeDocument/2006/relationships/image" Target="../media/image5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3" Type="http://schemas.microsoft.com/office/2018/10/relationships/comments" Target="../comments/modernComment_124_E097A586.xml"/><Relationship Id="rId7" Type="http://schemas.openxmlformats.org/officeDocument/2006/relationships/image" Target="../media/image7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69.png"/><Relationship Id="rId5" Type="http://schemas.openxmlformats.org/officeDocument/2006/relationships/image" Target="../media/image55.png"/><Relationship Id="rId4" Type="http://schemas.openxmlformats.org/officeDocument/2006/relationships/image" Target="../media/image38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jpeg"/><Relationship Id="rId3" Type="http://schemas.openxmlformats.org/officeDocument/2006/relationships/image" Target="../media/image38.jpe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55.png"/><Relationship Id="rId5" Type="http://schemas.openxmlformats.org/officeDocument/2006/relationships/image" Target="../media/image27.svg"/><Relationship Id="rId10" Type="http://schemas.openxmlformats.org/officeDocument/2006/relationships/image" Target="../media/image74.png"/><Relationship Id="rId4" Type="http://schemas.openxmlformats.org/officeDocument/2006/relationships/image" Target="../media/image26.png"/><Relationship Id="rId9" Type="http://schemas.openxmlformats.org/officeDocument/2006/relationships/image" Target="../media/image73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microsoft.com/office/2018/10/relationships/comments" Target="../comments/modernComment_125_774AEAAB.xml"/><Relationship Id="rId7" Type="http://schemas.openxmlformats.org/officeDocument/2006/relationships/image" Target="../media/image5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27.svg"/><Relationship Id="rId5" Type="http://schemas.openxmlformats.org/officeDocument/2006/relationships/image" Target="../media/image26.png"/><Relationship Id="rId10" Type="http://schemas.openxmlformats.org/officeDocument/2006/relationships/image" Target="../media/image77.png"/><Relationship Id="rId4" Type="http://schemas.openxmlformats.org/officeDocument/2006/relationships/image" Target="../media/image38.jpeg"/><Relationship Id="rId9" Type="http://schemas.openxmlformats.org/officeDocument/2006/relationships/image" Target="../media/image7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880F51-A6A5-7244-575D-BF3175E32711}"/>
              </a:ext>
            </a:extLst>
          </p:cNvPr>
          <p:cNvSpPr/>
          <p:nvPr/>
        </p:nvSpPr>
        <p:spPr bwMode="auto">
          <a:xfrm>
            <a:off x="0" y="0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FE4D1707-E5D6-B9CE-69E4-AC09D514EBC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392180" y="8247433"/>
            <a:ext cx="2073640" cy="1076918"/>
          </a:xfrm>
          <a:prstGeom prst="rect">
            <a:avLst/>
          </a:prstGeom>
        </p:spPr>
      </p:pic>
      <p:sp>
        <p:nvSpPr>
          <p:cNvPr id="23" name="Title 1">
            <a:extLst>
              <a:ext uri="{FF2B5EF4-FFF2-40B4-BE49-F238E27FC236}">
                <a16:creationId xmlns:a16="http://schemas.microsoft.com/office/drawing/2014/main" id="{253405CE-26C8-B6F1-8DC8-C135D195E898}"/>
              </a:ext>
            </a:extLst>
          </p:cNvPr>
          <p:cNvSpPr txBox="1">
            <a:spLocks/>
          </p:cNvSpPr>
          <p:nvPr/>
        </p:nvSpPr>
        <p:spPr>
          <a:xfrm>
            <a:off x="535874" y="5561004"/>
            <a:ext cx="5777319" cy="1890121"/>
          </a:xfrm>
        </p:spPr>
        <p:txBody>
          <a:bodyPr lIns="91440" tIns="45720" rIns="91440" bIns="45720" anchor="ctr" anchorCtr="0">
            <a:noAutofit/>
          </a:bodyPr>
          <a:lstStyle>
            <a:lvl1pPr algn="l" defTabSz="99150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205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99150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24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defTabSz="99150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24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defTabSz="99150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24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defTabSz="99150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24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44784" algn="l" defTabSz="99150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24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889570" algn="l" defTabSz="99150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24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34355" algn="l" defTabSz="99150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24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779141" algn="l" defTabSz="99150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24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ru-RU" sz="1800" b="0" i="0" dirty="0">
                <a:solidFill>
                  <a:srgbClr val="000000"/>
                </a:solidFill>
                <a:effectLst/>
                <a:latin typeface="Fira Sans" panose="020B0503050000020004" pitchFamily="34" charset="0"/>
              </a:rPr>
              <a:t>Мобільний додаток </a:t>
            </a:r>
            <a:r>
              <a:rPr lang="en-US" sz="1800" b="1" i="0" dirty="0">
                <a:solidFill>
                  <a:srgbClr val="000000"/>
                </a:solidFill>
                <a:effectLst/>
                <a:latin typeface="Fira Sans" panose="020B0503050000020004" pitchFamily="34" charset="0"/>
              </a:rPr>
              <a:t>Help at Home Caregiver Connect </a:t>
            </a:r>
            <a:r>
              <a:rPr lang="ru-RU" sz="1800" b="0" i="0" dirty="0">
                <a:solidFill>
                  <a:srgbClr val="000000"/>
                </a:solidFill>
                <a:effectLst/>
                <a:latin typeface="Fira Sans" panose="020B0503050000020004" pitchFamily="34" charset="0"/>
              </a:rPr>
              <a:t>надасть Вам зручніший доступ до ресурсів та підтримки, які Вам потрібні, дозволяючи зосередитися на догляді за Вашими клієнтами!</a:t>
            </a:r>
          </a:p>
          <a:p>
            <a:pPr algn="ctr"/>
            <a:endParaRPr lang="ru-RU" sz="1800" kern="0" dirty="0">
              <a:solidFill>
                <a:srgbClr val="000000"/>
              </a:solidFill>
              <a:latin typeface="Fira Sans" panose="020B0503050000020004" pitchFamily="34" charset="0"/>
              <a:cs typeface="Calibri"/>
            </a:endParaRPr>
          </a:p>
          <a:p>
            <a:pPr algn="ctr"/>
            <a:endParaRPr lang="en-US" sz="2000" kern="0" dirty="0">
              <a:solidFill>
                <a:schemeClr val="tx1">
                  <a:lumMod val="75000"/>
                </a:schemeClr>
              </a:solidFill>
              <a:cs typeface="Calibri"/>
            </a:endParaRPr>
          </a:p>
          <a:p>
            <a:pPr algn="ctr"/>
            <a:r>
              <a:rPr lang="ru-RU" sz="1800" b="1" i="1" kern="0" dirty="0">
                <a:solidFill>
                  <a:schemeClr val="accent5"/>
                </a:solidFill>
                <a:latin typeface="Fira Sans"/>
                <a:cs typeface="Calibri"/>
              </a:rPr>
              <a:t>Завантажте та зареєструйтеся вже сьогодні!</a:t>
            </a:r>
            <a:endParaRPr lang="en-US" sz="1800" b="1" i="1" kern="0" dirty="0">
              <a:solidFill>
                <a:schemeClr val="accent5"/>
              </a:solidFill>
              <a:latin typeface="Fira Sans"/>
              <a:cs typeface="Calibri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6A2BA6D2-CC75-DBBB-561A-9867DF2A4148}"/>
              </a:ext>
            </a:extLst>
          </p:cNvPr>
          <p:cNvGrpSpPr/>
          <p:nvPr/>
        </p:nvGrpSpPr>
        <p:grpSpPr>
          <a:xfrm>
            <a:off x="-408144" y="-2912073"/>
            <a:ext cx="7874758" cy="7825656"/>
            <a:chOff x="-545910" y="-3466531"/>
            <a:chExt cx="7874758" cy="7825656"/>
          </a:xfrm>
        </p:grpSpPr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D529DBDA-B405-E688-91D0-EF616A7055C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437" r="8437" b="18094"/>
            <a:stretch/>
          </p:blipFill>
          <p:spPr>
            <a:xfrm>
              <a:off x="-409873" y="-617300"/>
              <a:ext cx="7602684" cy="4976425"/>
            </a:xfrm>
            <a:custGeom>
              <a:avLst/>
              <a:gdLst>
                <a:gd name="connsiteX0" fmla="*/ 12417 w 7602684"/>
                <a:gd name="connsiteY0" fmla="*/ 0 h 4976425"/>
                <a:gd name="connsiteX1" fmla="*/ 7590267 w 7602684"/>
                <a:gd name="connsiteY1" fmla="*/ 0 h 4976425"/>
                <a:gd name="connsiteX2" fmla="*/ 7602684 w 7602684"/>
                <a:gd name="connsiteY2" fmla="*/ 43453 h 4976425"/>
                <a:gd name="connsiteX3" fmla="*/ 7602684 w 7602684"/>
                <a:gd name="connsiteY3" fmla="*/ 2083741 h 4976425"/>
                <a:gd name="connsiteX4" fmla="*/ 7561704 w 7602684"/>
                <a:gd name="connsiteY4" fmla="*/ 2227152 h 4976425"/>
                <a:gd name="connsiteX5" fmla="*/ 3801342 w 7602684"/>
                <a:gd name="connsiteY5" fmla="*/ 4976425 h 4976425"/>
                <a:gd name="connsiteX6" fmla="*/ 40980 w 7602684"/>
                <a:gd name="connsiteY6" fmla="*/ 2227152 h 4976425"/>
                <a:gd name="connsiteX7" fmla="*/ 0 w 7602684"/>
                <a:gd name="connsiteY7" fmla="*/ 2083741 h 4976425"/>
                <a:gd name="connsiteX8" fmla="*/ 0 w 7602684"/>
                <a:gd name="connsiteY8" fmla="*/ 43454 h 4976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02684" h="4976425">
                  <a:moveTo>
                    <a:pt x="12417" y="0"/>
                  </a:moveTo>
                  <a:lnTo>
                    <a:pt x="7590267" y="0"/>
                  </a:lnTo>
                  <a:lnTo>
                    <a:pt x="7602684" y="43453"/>
                  </a:lnTo>
                  <a:lnTo>
                    <a:pt x="7602684" y="2083741"/>
                  </a:lnTo>
                  <a:lnTo>
                    <a:pt x="7561704" y="2227152"/>
                  </a:lnTo>
                  <a:cubicBezTo>
                    <a:pt x="7063187" y="3819942"/>
                    <a:pt x="5568167" y="4976425"/>
                    <a:pt x="3801342" y="4976425"/>
                  </a:cubicBezTo>
                  <a:cubicBezTo>
                    <a:pt x="2034517" y="4976425"/>
                    <a:pt x="539497" y="3819942"/>
                    <a:pt x="40980" y="2227152"/>
                  </a:cubicBezTo>
                  <a:lnTo>
                    <a:pt x="0" y="2083741"/>
                  </a:lnTo>
                  <a:lnTo>
                    <a:pt x="0" y="43454"/>
                  </a:lnTo>
                  <a:close/>
                </a:path>
              </a:pathLst>
            </a:custGeom>
          </p:spPr>
        </p:pic>
        <p:sp>
          <p:nvSpPr>
            <p:cNvPr id="31" name="Flowchart: Connector 30">
              <a:extLst>
                <a:ext uri="{FF2B5EF4-FFF2-40B4-BE49-F238E27FC236}">
                  <a16:creationId xmlns:a16="http://schemas.microsoft.com/office/drawing/2014/main" id="{41871011-2735-8C1D-128B-B91367272FF0}"/>
                </a:ext>
              </a:extLst>
            </p:cNvPr>
            <p:cNvSpPr/>
            <p:nvPr/>
          </p:nvSpPr>
          <p:spPr bwMode="auto">
            <a:xfrm>
              <a:off x="-545910" y="-3466531"/>
              <a:ext cx="7874758" cy="7825655"/>
            </a:xfrm>
            <a:prstGeom prst="flowChartConnector">
              <a:avLst/>
            </a:prstGeom>
            <a:solidFill>
              <a:schemeClr val="accent3">
                <a:alpha val="70000"/>
              </a:schemeClr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04345A60-6D84-C9C0-944C-166FA2F85432}"/>
              </a:ext>
            </a:extLst>
          </p:cNvPr>
          <p:cNvSpPr txBox="1"/>
          <p:nvPr/>
        </p:nvSpPr>
        <p:spPr>
          <a:xfrm>
            <a:off x="-209404" y="2370383"/>
            <a:ext cx="7267873" cy="95410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ru-RU" sz="2800" i="1" dirty="0">
                <a:solidFill>
                  <a:schemeClr val="bg1"/>
                </a:solidFill>
                <a:latin typeface="Fira Sans"/>
                <a:cs typeface="Calibri Light"/>
              </a:rPr>
              <a:t>Початок роботи в мобільному додатку </a:t>
            </a:r>
            <a:r>
              <a:rPr lang="en-US" sz="2800" i="1" dirty="0">
                <a:solidFill>
                  <a:schemeClr val="bg1"/>
                </a:solidFill>
                <a:latin typeface="Fira Sans"/>
                <a:cs typeface="Calibri Light"/>
              </a:rPr>
              <a:t>Help at Home Caregiver Connect</a:t>
            </a:r>
            <a:endParaRPr lang="en-US" sz="2800" dirty="0">
              <a:solidFill>
                <a:schemeClr val="bg1"/>
              </a:solidFill>
              <a:latin typeface="Fira Sans"/>
              <a:cs typeface="Calibri Light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D39B4EB-C812-A1FF-2FF3-1BA97A90C2B8}"/>
              </a:ext>
            </a:extLst>
          </p:cNvPr>
          <p:cNvSpPr txBox="1"/>
          <p:nvPr/>
        </p:nvSpPr>
        <p:spPr>
          <a:xfrm>
            <a:off x="100235" y="1000755"/>
            <a:ext cx="68580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b="1" dirty="0">
                <a:solidFill>
                  <a:schemeClr val="bg1"/>
                </a:solidFill>
                <a:latin typeface="Fira Sans" panose="020B0503050000020004" pitchFamily="34" charset="0"/>
              </a:rPr>
              <a:t>Посібник для</a:t>
            </a:r>
          </a:p>
          <a:p>
            <a:r>
              <a:rPr lang="ru-RU" sz="4000" b="1" dirty="0">
                <a:solidFill>
                  <a:schemeClr val="bg1"/>
                </a:solidFill>
                <a:latin typeface="Fira Sans" panose="020B0503050000020004" pitchFamily="34" charset="0"/>
              </a:rPr>
              <a:t>помічників по догляду </a:t>
            </a:r>
            <a:endParaRPr lang="en-US" sz="4000" b="1" dirty="0">
              <a:solidFill>
                <a:schemeClr val="bg1"/>
              </a:solidFill>
              <a:latin typeface="Fira Sans" panose="020B05030500000200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7931F64-8B52-85F6-8F94-746C7335F345}"/>
              </a:ext>
            </a:extLst>
          </p:cNvPr>
          <p:cNvSpPr txBox="1"/>
          <p:nvPr/>
        </p:nvSpPr>
        <p:spPr>
          <a:xfrm>
            <a:off x="1104688" y="3679523"/>
            <a:ext cx="484909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Розроблено доглядальниками для доглядальників</a:t>
            </a:r>
            <a:endParaRPr lang="en-US" sz="1600" b="1" dirty="0">
              <a:solidFill>
                <a:schemeClr val="bg1"/>
              </a:solidFill>
              <a:latin typeface="Fira Sans" panose="020B05030500000200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15757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880F51-A6A5-7244-575D-BF3175E32711}"/>
              </a:ext>
            </a:extLst>
          </p:cNvPr>
          <p:cNvSpPr/>
          <p:nvPr/>
        </p:nvSpPr>
        <p:spPr bwMode="auto">
          <a:xfrm>
            <a:off x="0" y="9212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06052F7-FFCF-3D54-7058-F7602DCC00C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90" t="15643" r="8290" b="63387"/>
          <a:stretch/>
        </p:blipFill>
        <p:spPr>
          <a:xfrm>
            <a:off x="0" y="288969"/>
            <a:ext cx="3327400" cy="557636"/>
          </a:xfrm>
          <a:custGeom>
            <a:avLst/>
            <a:gdLst>
              <a:gd name="connsiteX0" fmla="*/ 0 w 3327400"/>
              <a:gd name="connsiteY0" fmla="*/ 0 h 557636"/>
              <a:gd name="connsiteX1" fmla="*/ 3234459 w 3327400"/>
              <a:gd name="connsiteY1" fmla="*/ 0 h 557636"/>
              <a:gd name="connsiteX2" fmla="*/ 3327400 w 3327400"/>
              <a:gd name="connsiteY2" fmla="*/ 92941 h 557636"/>
              <a:gd name="connsiteX3" fmla="*/ 3327400 w 3327400"/>
              <a:gd name="connsiteY3" fmla="*/ 464695 h 557636"/>
              <a:gd name="connsiteX4" fmla="*/ 3234459 w 3327400"/>
              <a:gd name="connsiteY4" fmla="*/ 557636 h 557636"/>
              <a:gd name="connsiteX5" fmla="*/ 0 w 3327400"/>
              <a:gd name="connsiteY5" fmla="*/ 557636 h 557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27400" h="557636">
                <a:moveTo>
                  <a:pt x="0" y="0"/>
                </a:moveTo>
                <a:lnTo>
                  <a:pt x="3234459" y="0"/>
                </a:lnTo>
                <a:cubicBezTo>
                  <a:pt x="3285789" y="0"/>
                  <a:pt x="3327400" y="41611"/>
                  <a:pt x="3327400" y="92941"/>
                </a:cubicBezTo>
                <a:lnTo>
                  <a:pt x="3327400" y="464695"/>
                </a:lnTo>
                <a:cubicBezTo>
                  <a:pt x="3327400" y="516025"/>
                  <a:pt x="3285789" y="557636"/>
                  <a:pt x="3234459" y="557636"/>
                </a:cubicBezTo>
                <a:lnTo>
                  <a:pt x="0" y="557636"/>
                </a:lnTo>
                <a:close/>
              </a:path>
            </a:pathLst>
          </a:cu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5B311F5-E604-16F1-6AC1-275B0747E7D6}"/>
              </a:ext>
            </a:extLst>
          </p:cNvPr>
          <p:cNvSpPr/>
          <p:nvPr/>
        </p:nvSpPr>
        <p:spPr bwMode="auto">
          <a:xfrm>
            <a:off x="-101600" y="288969"/>
            <a:ext cx="3429000" cy="557636"/>
          </a:xfrm>
          <a:prstGeom prst="roundRect">
            <a:avLst/>
          </a:prstGeom>
          <a:solidFill>
            <a:schemeClr val="accent3"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uk-UA" sz="2000" b="1" i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Запит додаткових робочих змін</a:t>
            </a:r>
            <a:endParaRPr kumimoji="0" lang="en-US" sz="200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ira Sans" panose="020B05030500000200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B27ACB6B-C29A-D827-33BF-EA04834CA5B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34009" y="8682623"/>
            <a:ext cx="1073746" cy="557636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377FA416-B833-D668-0954-630D3F825DCB}"/>
              </a:ext>
            </a:extLst>
          </p:cNvPr>
          <p:cNvSpPr/>
          <p:nvPr/>
        </p:nvSpPr>
        <p:spPr bwMode="auto">
          <a:xfrm>
            <a:off x="1857468" y="4378670"/>
            <a:ext cx="519972" cy="15152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E4DB5B3-D427-BA95-B87F-90558C21724F}"/>
              </a:ext>
            </a:extLst>
          </p:cNvPr>
          <p:cNvSpPr txBox="1"/>
          <p:nvPr/>
        </p:nvSpPr>
        <p:spPr>
          <a:xfrm>
            <a:off x="1768926" y="4343569"/>
            <a:ext cx="719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/>
              <a:t>$250.00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0CBE3ED2-4465-7C49-C405-BE97F20F82B7}"/>
              </a:ext>
            </a:extLst>
          </p:cNvPr>
          <p:cNvSpPr/>
          <p:nvPr/>
        </p:nvSpPr>
        <p:spPr bwMode="auto">
          <a:xfrm>
            <a:off x="1916349" y="1997375"/>
            <a:ext cx="484246" cy="15508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F0A34E9-D186-2DF9-3844-95C0BF0D8A83}"/>
              </a:ext>
            </a:extLst>
          </p:cNvPr>
          <p:cNvSpPr txBox="1"/>
          <p:nvPr/>
        </p:nvSpPr>
        <p:spPr>
          <a:xfrm>
            <a:off x="1557545" y="1921627"/>
            <a:ext cx="71965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>
                <a:solidFill>
                  <a:schemeClr val="accent3"/>
                </a:solidFill>
              </a:rPr>
              <a:t>$250.00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B9A8A66-E2E6-D2EB-6C99-76B5D2395D71}"/>
              </a:ext>
            </a:extLst>
          </p:cNvPr>
          <p:cNvSpPr txBox="1"/>
          <p:nvPr/>
        </p:nvSpPr>
        <p:spPr>
          <a:xfrm>
            <a:off x="1706840" y="2093730"/>
            <a:ext cx="558876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800" b="1">
                <a:solidFill>
                  <a:schemeClr val="accent3"/>
                </a:solidFill>
              </a:rPr>
              <a:t>$250.00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C73857B-77B7-EF3E-90B8-5C4945AE5BAD}"/>
              </a:ext>
            </a:extLst>
          </p:cNvPr>
          <p:cNvGrpSpPr/>
          <p:nvPr/>
        </p:nvGrpSpPr>
        <p:grpSpPr>
          <a:xfrm>
            <a:off x="4249440" y="2616062"/>
            <a:ext cx="2246853" cy="908852"/>
            <a:chOff x="2577465" y="1416599"/>
            <a:chExt cx="2246853" cy="908852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D29010E1-BE2B-80F5-DE00-1E630D801B8A}"/>
                </a:ext>
              </a:extLst>
            </p:cNvPr>
            <p:cNvSpPr txBox="1"/>
            <p:nvPr/>
          </p:nvSpPr>
          <p:spPr>
            <a:xfrm>
              <a:off x="2760346" y="1586787"/>
              <a:ext cx="2063972" cy="73866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uk-UA" sz="1400" dirty="0">
                  <a:latin typeface="Fira Sans" panose="020B0503050000020004" pitchFamily="34" charset="0"/>
                </a:rPr>
                <a:t>Натисніть </a:t>
              </a:r>
              <a:r>
                <a:rPr lang="uk-UA" sz="1400" b="1" dirty="0">
                  <a:latin typeface="Fira Sans" panose="020B0503050000020004" pitchFamily="34" charset="0"/>
                </a:rPr>
                <a:t>Запросити додаткові робочі зміни</a:t>
              </a:r>
              <a:endParaRPr lang="en-US" sz="1400" b="1" dirty="0">
                <a:latin typeface="Fira Sans" panose="020B0503050000020004" pitchFamily="34" charset="0"/>
              </a:endParaRPr>
            </a:p>
          </p:txBody>
        </p:sp>
        <p:sp>
          <p:nvSpPr>
            <p:cNvPr id="20" name="Flowchart: Connector 19">
              <a:extLst>
                <a:ext uri="{FF2B5EF4-FFF2-40B4-BE49-F238E27FC236}">
                  <a16:creationId xmlns:a16="http://schemas.microsoft.com/office/drawing/2014/main" id="{65239E2D-CAF2-584F-F69B-1C9F7EE5CF2A}"/>
                </a:ext>
              </a:extLst>
            </p:cNvPr>
            <p:cNvSpPr/>
            <p:nvPr/>
          </p:nvSpPr>
          <p:spPr bwMode="auto">
            <a:xfrm>
              <a:off x="2577465" y="1416599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2</a:t>
              </a:r>
              <a:endParaRPr kumimoji="0" lang="en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sp>
        <p:nvSpPr>
          <p:cNvPr id="26" name="Oval 25">
            <a:extLst>
              <a:ext uri="{FF2B5EF4-FFF2-40B4-BE49-F238E27FC236}">
                <a16:creationId xmlns:a16="http://schemas.microsoft.com/office/drawing/2014/main" id="{D37839C3-C557-AAD8-E012-D193916036A8}"/>
              </a:ext>
            </a:extLst>
          </p:cNvPr>
          <p:cNvSpPr/>
          <p:nvPr/>
        </p:nvSpPr>
        <p:spPr bwMode="auto">
          <a:xfrm>
            <a:off x="3957120" y="6170244"/>
            <a:ext cx="1969395" cy="390600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en-US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0ECD9F8-72C5-4DCF-4214-EE9DE91DB862}"/>
              </a:ext>
            </a:extLst>
          </p:cNvPr>
          <p:cNvGrpSpPr/>
          <p:nvPr/>
        </p:nvGrpSpPr>
        <p:grpSpPr>
          <a:xfrm>
            <a:off x="434010" y="7162061"/>
            <a:ext cx="3581292" cy="1697155"/>
            <a:chOff x="2325649" y="1522055"/>
            <a:chExt cx="2956105" cy="1555402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348F0094-56F2-5AB1-D132-183739A4EBA1}"/>
                </a:ext>
              </a:extLst>
            </p:cNvPr>
            <p:cNvSpPr txBox="1"/>
            <p:nvPr/>
          </p:nvSpPr>
          <p:spPr>
            <a:xfrm>
              <a:off x="2325649" y="1737047"/>
              <a:ext cx="2773226" cy="134041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ru-RU" sz="1400" dirty="0">
                  <a:latin typeface="Fira Sans" panose="020B0503050000020004" pitchFamily="34" charset="0"/>
                </a:rPr>
                <a:t>Введіть Ваш </a:t>
              </a:r>
              <a:r>
                <a:rPr lang="ru-RU" sz="1400" b="1" dirty="0">
                  <a:latin typeface="Fira Sans" panose="020B0503050000020004" pitchFamily="34" charset="0"/>
                </a:rPr>
                <a:t>філіал</a:t>
              </a:r>
              <a:r>
                <a:rPr lang="ru-RU" sz="1400" dirty="0">
                  <a:latin typeface="Fira Sans" panose="020B0503050000020004" pitchFamily="34" charset="0"/>
                </a:rPr>
                <a:t>, а також </a:t>
              </a:r>
              <a:r>
                <a:rPr lang="ru-RU" sz="1400" b="1" dirty="0">
                  <a:latin typeface="Fira Sans" panose="020B0503050000020004" pitchFamily="34" charset="0"/>
                </a:rPr>
                <a:t>дні </a:t>
              </a:r>
              <a:r>
                <a:rPr lang="ru-RU" sz="1400" dirty="0">
                  <a:latin typeface="Fira Sans" panose="020B0503050000020004" pitchFamily="34" charset="0"/>
                </a:rPr>
                <a:t>та </a:t>
              </a:r>
              <a:r>
                <a:rPr lang="ru-RU" sz="1400" b="1" dirty="0">
                  <a:latin typeface="Fira Sans" panose="020B0503050000020004" pitchFamily="34" charset="0"/>
                </a:rPr>
                <a:t>час</a:t>
              </a:r>
              <a:r>
                <a:rPr lang="ru-RU" sz="1400" dirty="0">
                  <a:latin typeface="Fira Sans" panose="020B0503050000020004" pitchFamily="34" charset="0"/>
                </a:rPr>
                <a:t>, коли Ви хочете взяти додаткові години, і натисніть </a:t>
              </a:r>
              <a:r>
                <a:rPr lang="ru-RU" sz="1400" b="1" dirty="0">
                  <a:latin typeface="Fira Sans" panose="020B0503050000020004" pitchFamily="34" charset="0"/>
                </a:rPr>
                <a:t>Надіслати</a:t>
              </a:r>
              <a:r>
                <a:rPr lang="ru-RU" sz="1400" dirty="0">
                  <a:latin typeface="Fira Sans" panose="020B0503050000020004" pitchFamily="34" charset="0"/>
                </a:rPr>
                <a:t>.</a:t>
              </a:r>
            </a:p>
            <a:p>
              <a:r>
                <a:rPr lang="ru-RU" sz="1400" dirty="0">
                  <a:latin typeface="Fira Sans" panose="020B0503050000020004" pitchFamily="34" charset="0"/>
                </a:rPr>
                <a:t>Ваш філіал розгляне запит і зв’яжеться з Вами для подальших дій</a:t>
              </a:r>
            </a:p>
          </p:txBody>
        </p:sp>
        <p:sp>
          <p:nvSpPr>
            <p:cNvPr id="25" name="Flowchart: Connector 24">
              <a:extLst>
                <a:ext uri="{FF2B5EF4-FFF2-40B4-BE49-F238E27FC236}">
                  <a16:creationId xmlns:a16="http://schemas.microsoft.com/office/drawing/2014/main" id="{A084B2F1-7FC5-0877-AA87-687F99300A21}"/>
                </a:ext>
              </a:extLst>
            </p:cNvPr>
            <p:cNvSpPr/>
            <p:nvPr/>
          </p:nvSpPr>
          <p:spPr bwMode="auto">
            <a:xfrm>
              <a:off x="4915994" y="1522055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3</a:t>
              </a:r>
              <a:endParaRPr kumimoji="0" lang="en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4E499EC-4EF2-D229-AC30-A660FF77D591}"/>
              </a:ext>
            </a:extLst>
          </p:cNvPr>
          <p:cNvGrpSpPr/>
          <p:nvPr/>
        </p:nvGrpSpPr>
        <p:grpSpPr>
          <a:xfrm>
            <a:off x="2518298" y="1067622"/>
            <a:ext cx="2423519" cy="922265"/>
            <a:chOff x="2758354" y="1493962"/>
            <a:chExt cx="2423519" cy="922265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E977D17C-582B-4C71-4B96-494F8B89D209}"/>
                </a:ext>
              </a:extLst>
            </p:cNvPr>
            <p:cNvSpPr txBox="1"/>
            <p:nvPr/>
          </p:nvSpPr>
          <p:spPr>
            <a:xfrm>
              <a:off x="2980870" y="1677563"/>
              <a:ext cx="2201003" cy="73866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uk-UA" dirty="0">
                  <a:latin typeface="Fira Sans" panose="020B0503050000020004" pitchFamily="34" charset="0"/>
                </a:rPr>
                <a:t>Натисніть </a:t>
              </a:r>
              <a:r>
                <a:rPr lang="uk-UA" b="1" dirty="0">
                  <a:latin typeface="Fira Sans" panose="020B0503050000020004" pitchFamily="34" charset="0"/>
                </a:rPr>
                <a:t>Переглянути платіжні відомості</a:t>
              </a:r>
              <a:endParaRPr lang="en-US" b="1" dirty="0">
                <a:latin typeface="Fira Sans" panose="020B0503050000020004" pitchFamily="34" charset="0"/>
              </a:endParaRPr>
            </a:p>
          </p:txBody>
        </p:sp>
        <p:sp>
          <p:nvSpPr>
            <p:cNvPr id="16" name="Flowchart: Connector 15">
              <a:extLst>
                <a:ext uri="{FF2B5EF4-FFF2-40B4-BE49-F238E27FC236}">
                  <a16:creationId xmlns:a16="http://schemas.microsoft.com/office/drawing/2014/main" id="{89AFADCA-9D1B-FF83-778C-0A543898CD0A}"/>
                </a:ext>
              </a:extLst>
            </p:cNvPr>
            <p:cNvSpPr/>
            <p:nvPr/>
          </p:nvSpPr>
          <p:spPr bwMode="auto">
            <a:xfrm>
              <a:off x="2758354" y="1493962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1</a:t>
              </a:r>
              <a:endParaRPr kumimoji="0" lang="en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3D7D7D65-E2AE-E127-C11A-D62FCEA9FE8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1574" y="1325533"/>
            <a:ext cx="2186963" cy="4438932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F5CD3DD0-E5F7-01B5-DF82-E9D34D0A8E4D}"/>
              </a:ext>
            </a:extLst>
          </p:cNvPr>
          <p:cNvSpPr/>
          <p:nvPr/>
        </p:nvSpPr>
        <p:spPr bwMode="auto">
          <a:xfrm>
            <a:off x="558713" y="2590791"/>
            <a:ext cx="1477093" cy="290209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4DA2009-A006-EC9A-CE94-4601D4395C95}"/>
              </a:ext>
            </a:extLst>
          </p:cNvPr>
          <p:cNvGrpSpPr/>
          <p:nvPr/>
        </p:nvGrpSpPr>
        <p:grpSpPr>
          <a:xfrm>
            <a:off x="2104709" y="2668699"/>
            <a:ext cx="2127195" cy="4368424"/>
            <a:chOff x="8045428" y="1324839"/>
            <a:chExt cx="2190120" cy="4374223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B8E07D70-9900-4CCA-BE86-EC525C28B384}"/>
                </a:ext>
              </a:extLst>
            </p:cNvPr>
            <p:cNvGrpSpPr/>
            <p:nvPr/>
          </p:nvGrpSpPr>
          <p:grpSpPr>
            <a:xfrm>
              <a:off x="8045428" y="1324839"/>
              <a:ext cx="2190120" cy="4374223"/>
              <a:chOff x="8045428" y="1324839"/>
              <a:chExt cx="2190120" cy="4374223"/>
            </a:xfrm>
          </p:grpSpPr>
          <p:pic>
            <p:nvPicPr>
              <p:cNvPr id="24" name="Picture 23">
                <a:extLst>
                  <a:ext uri="{FF2B5EF4-FFF2-40B4-BE49-F238E27FC236}">
                    <a16:creationId xmlns:a16="http://schemas.microsoft.com/office/drawing/2014/main" id="{180B2FB6-3AC8-4B1A-8F94-C502A914631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8045428" y="1324839"/>
                <a:ext cx="2190120" cy="4374223"/>
              </a:xfrm>
              <a:prstGeom prst="roundRect">
                <a:avLst/>
              </a:prstGeom>
            </p:spPr>
          </p:pic>
          <p:pic>
            <p:nvPicPr>
              <p:cNvPr id="27" name="Picture 2">
                <a:extLst>
                  <a:ext uri="{FF2B5EF4-FFF2-40B4-BE49-F238E27FC236}">
                    <a16:creationId xmlns:a16="http://schemas.microsoft.com/office/drawing/2014/main" id="{00FF7458-F47A-911F-9921-A839D67120F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164895" y="1455575"/>
                <a:ext cx="1968808" cy="4086809"/>
              </a:xfrm>
              <a:prstGeom prst="roundRect">
                <a:avLst/>
              </a:prstGeom>
              <a:ln w="19050">
                <a:solidFill>
                  <a:srgbClr val="000000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7CA7738C-8457-2E32-716F-919EBBD0A38D}"/>
                </a:ext>
              </a:extLst>
            </p:cNvPr>
            <p:cNvSpPr/>
            <p:nvPr/>
          </p:nvSpPr>
          <p:spPr bwMode="auto">
            <a:xfrm>
              <a:off x="8210526" y="3534956"/>
              <a:ext cx="1816855" cy="299248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algn="l"/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5264B5EC-0647-BFC7-FE51-7DE5914AD1F8}"/>
              </a:ext>
            </a:extLst>
          </p:cNvPr>
          <p:cNvGrpSpPr/>
          <p:nvPr/>
        </p:nvGrpSpPr>
        <p:grpSpPr>
          <a:xfrm>
            <a:off x="4078460" y="4774676"/>
            <a:ext cx="2127195" cy="4368424"/>
            <a:chOff x="9620915" y="3022278"/>
            <a:chExt cx="2127195" cy="4368424"/>
          </a:xfrm>
        </p:grpSpPr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6180DFE3-3F62-33F3-C84B-2E7D95DF167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620915" y="3022278"/>
              <a:ext cx="2127195" cy="4368424"/>
            </a:xfrm>
            <a:prstGeom prst="roundRect">
              <a:avLst/>
            </a:prstGeom>
          </p:spPr>
        </p:pic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A757ACF0-C4D2-B7EF-5734-A0E82E5DB54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42213" y="3120921"/>
              <a:ext cx="1883730" cy="4147626"/>
            </a:xfrm>
            <a:prstGeom prst="round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8" name="Oval 27">
            <a:extLst>
              <a:ext uri="{FF2B5EF4-FFF2-40B4-BE49-F238E27FC236}">
                <a16:creationId xmlns:a16="http://schemas.microsoft.com/office/drawing/2014/main" id="{A14C2E81-FC9C-E53A-6B84-8769C50E77F2}"/>
              </a:ext>
            </a:extLst>
          </p:cNvPr>
          <p:cNvSpPr/>
          <p:nvPr/>
        </p:nvSpPr>
        <p:spPr bwMode="auto">
          <a:xfrm>
            <a:off x="4140476" y="8623911"/>
            <a:ext cx="1906588" cy="332009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en-US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45043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880F51-A6A5-7244-575D-BF3175E32711}"/>
              </a:ext>
            </a:extLst>
          </p:cNvPr>
          <p:cNvSpPr/>
          <p:nvPr/>
        </p:nvSpPr>
        <p:spPr bwMode="auto">
          <a:xfrm>
            <a:off x="-5118" y="0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06052F7-FFCF-3D54-7058-F7602DCC00C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90" t="15643" r="8290" b="63387"/>
          <a:stretch/>
        </p:blipFill>
        <p:spPr>
          <a:xfrm>
            <a:off x="0" y="288969"/>
            <a:ext cx="3327400" cy="557636"/>
          </a:xfrm>
          <a:custGeom>
            <a:avLst/>
            <a:gdLst>
              <a:gd name="connsiteX0" fmla="*/ 0 w 3327400"/>
              <a:gd name="connsiteY0" fmla="*/ 0 h 557636"/>
              <a:gd name="connsiteX1" fmla="*/ 3234459 w 3327400"/>
              <a:gd name="connsiteY1" fmla="*/ 0 h 557636"/>
              <a:gd name="connsiteX2" fmla="*/ 3327400 w 3327400"/>
              <a:gd name="connsiteY2" fmla="*/ 92941 h 557636"/>
              <a:gd name="connsiteX3" fmla="*/ 3327400 w 3327400"/>
              <a:gd name="connsiteY3" fmla="*/ 464695 h 557636"/>
              <a:gd name="connsiteX4" fmla="*/ 3234459 w 3327400"/>
              <a:gd name="connsiteY4" fmla="*/ 557636 h 557636"/>
              <a:gd name="connsiteX5" fmla="*/ 0 w 3327400"/>
              <a:gd name="connsiteY5" fmla="*/ 557636 h 557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27400" h="557636">
                <a:moveTo>
                  <a:pt x="0" y="0"/>
                </a:moveTo>
                <a:lnTo>
                  <a:pt x="3234459" y="0"/>
                </a:lnTo>
                <a:cubicBezTo>
                  <a:pt x="3285789" y="0"/>
                  <a:pt x="3327400" y="41611"/>
                  <a:pt x="3327400" y="92941"/>
                </a:cubicBezTo>
                <a:lnTo>
                  <a:pt x="3327400" y="464695"/>
                </a:lnTo>
                <a:cubicBezTo>
                  <a:pt x="3327400" y="516025"/>
                  <a:pt x="3285789" y="557636"/>
                  <a:pt x="3234459" y="557636"/>
                </a:cubicBezTo>
                <a:lnTo>
                  <a:pt x="0" y="557636"/>
                </a:lnTo>
                <a:close/>
              </a:path>
            </a:pathLst>
          </a:cu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5B311F5-E604-16F1-6AC1-275B0747E7D6}"/>
              </a:ext>
            </a:extLst>
          </p:cNvPr>
          <p:cNvSpPr/>
          <p:nvPr/>
        </p:nvSpPr>
        <p:spPr bwMode="auto">
          <a:xfrm>
            <a:off x="-50800" y="251548"/>
            <a:ext cx="3429000" cy="634718"/>
          </a:xfrm>
          <a:prstGeom prst="roundRect">
            <a:avLst/>
          </a:prstGeom>
          <a:solidFill>
            <a:schemeClr val="accent3"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i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Повідомити про помилку в розкладі</a:t>
            </a:r>
            <a:endParaRPr kumimoji="0" lang="en-US" sz="200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ira Sans" panose="020B05030500000200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B27ACB6B-C29A-D827-33BF-EA04834CA5B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34009" y="8682623"/>
            <a:ext cx="1073746" cy="557636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377FA416-B833-D668-0954-630D3F825DCB}"/>
              </a:ext>
            </a:extLst>
          </p:cNvPr>
          <p:cNvSpPr/>
          <p:nvPr/>
        </p:nvSpPr>
        <p:spPr bwMode="auto">
          <a:xfrm>
            <a:off x="1857468" y="4378670"/>
            <a:ext cx="519972" cy="15152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0CBE3ED2-4465-7C49-C405-BE97F20F82B7}"/>
              </a:ext>
            </a:extLst>
          </p:cNvPr>
          <p:cNvSpPr/>
          <p:nvPr/>
        </p:nvSpPr>
        <p:spPr bwMode="auto">
          <a:xfrm>
            <a:off x="1916349" y="1997375"/>
            <a:ext cx="484246" cy="15508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C73857B-77B7-EF3E-90B8-5C4945AE5BAD}"/>
              </a:ext>
            </a:extLst>
          </p:cNvPr>
          <p:cNvGrpSpPr/>
          <p:nvPr/>
        </p:nvGrpSpPr>
        <p:grpSpPr>
          <a:xfrm>
            <a:off x="4429320" y="2616062"/>
            <a:ext cx="2320668" cy="938857"/>
            <a:chOff x="2577465" y="1416599"/>
            <a:chExt cx="2320668" cy="938857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D29010E1-BE2B-80F5-DE00-1E630D801B8A}"/>
                </a:ext>
              </a:extLst>
            </p:cNvPr>
            <p:cNvSpPr txBox="1"/>
            <p:nvPr/>
          </p:nvSpPr>
          <p:spPr>
            <a:xfrm>
              <a:off x="2776093" y="1616792"/>
              <a:ext cx="2122040" cy="73866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ru-RU" sz="1400" dirty="0">
                  <a:latin typeface="Fira Sans" panose="020B0503050000020004" pitchFamily="34" charset="0"/>
                </a:rPr>
                <a:t>Натисніть </a:t>
              </a:r>
              <a:r>
                <a:rPr lang="ru-RU" sz="1400" b="1" dirty="0">
                  <a:latin typeface="Fira Sans" panose="020B0503050000020004" pitchFamily="34" charset="0"/>
                </a:rPr>
                <a:t>Повідомити про помилку в розкладі</a:t>
              </a:r>
              <a:endParaRPr lang="en-US" sz="1400" b="1" dirty="0">
                <a:latin typeface="Fira Sans" panose="020B0503050000020004" pitchFamily="34" charset="0"/>
              </a:endParaRPr>
            </a:p>
          </p:txBody>
        </p:sp>
        <p:sp>
          <p:nvSpPr>
            <p:cNvPr id="20" name="Flowchart: Connector 19">
              <a:extLst>
                <a:ext uri="{FF2B5EF4-FFF2-40B4-BE49-F238E27FC236}">
                  <a16:creationId xmlns:a16="http://schemas.microsoft.com/office/drawing/2014/main" id="{65239E2D-CAF2-584F-F69B-1C9F7EE5CF2A}"/>
                </a:ext>
              </a:extLst>
            </p:cNvPr>
            <p:cNvSpPr/>
            <p:nvPr/>
          </p:nvSpPr>
          <p:spPr bwMode="auto">
            <a:xfrm>
              <a:off x="2577465" y="1416599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2</a:t>
              </a:r>
              <a:endParaRPr kumimoji="0" lang="en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0ECD9F8-72C5-4DCF-4214-EE9DE91DB862}"/>
              </a:ext>
            </a:extLst>
          </p:cNvPr>
          <p:cNvGrpSpPr/>
          <p:nvPr/>
        </p:nvGrpSpPr>
        <p:grpSpPr>
          <a:xfrm>
            <a:off x="980389" y="7096558"/>
            <a:ext cx="2997236" cy="1615435"/>
            <a:chOff x="2253419" y="1462023"/>
            <a:chExt cx="2997236" cy="1615435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348F0094-56F2-5AB1-D132-183739A4EBA1}"/>
                </a:ext>
              </a:extLst>
            </p:cNvPr>
            <p:cNvSpPr txBox="1"/>
            <p:nvPr/>
          </p:nvSpPr>
          <p:spPr>
            <a:xfrm>
              <a:off x="2253419" y="1627444"/>
              <a:ext cx="2845456" cy="145001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ru-RU" sz="1400" dirty="0">
                  <a:latin typeface="Fira Sans" panose="020B0503050000020004" pitchFamily="34" charset="0"/>
                </a:rPr>
                <a:t>Введіть Ваш </a:t>
              </a:r>
              <a:r>
                <a:rPr lang="ru-RU" sz="1400" b="1" dirty="0">
                  <a:latin typeface="Fira Sans" panose="020B0503050000020004" pitchFamily="34" charset="0"/>
                </a:rPr>
                <a:t>розклад і вкажіть дні та час змін</a:t>
              </a:r>
              <a:r>
                <a:rPr lang="ru-RU" sz="1400" dirty="0">
                  <a:latin typeface="Fira Sans" panose="020B0503050000020004" pitchFamily="34" charset="0"/>
                </a:rPr>
                <a:t>, які потрібно виправити. Співробітник філіалу перевірить і оновить інформацію про помилку.</a:t>
              </a:r>
              <a:endParaRPr lang="en-US" sz="1400" dirty="0">
                <a:latin typeface="Fira Sans" panose="020B0503050000020004" pitchFamily="34" charset="0"/>
              </a:endParaRPr>
            </a:p>
          </p:txBody>
        </p:sp>
        <p:sp>
          <p:nvSpPr>
            <p:cNvPr id="25" name="Flowchart: Connector 24">
              <a:extLst>
                <a:ext uri="{FF2B5EF4-FFF2-40B4-BE49-F238E27FC236}">
                  <a16:creationId xmlns:a16="http://schemas.microsoft.com/office/drawing/2014/main" id="{A084B2F1-7FC5-0877-AA87-687F99300A21}"/>
                </a:ext>
              </a:extLst>
            </p:cNvPr>
            <p:cNvSpPr/>
            <p:nvPr/>
          </p:nvSpPr>
          <p:spPr bwMode="auto">
            <a:xfrm>
              <a:off x="4884895" y="1462023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3</a:t>
              </a:r>
              <a:endParaRPr kumimoji="0" lang="en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4E499EC-4EF2-D229-AC30-A660FF77D591}"/>
              </a:ext>
            </a:extLst>
          </p:cNvPr>
          <p:cNvGrpSpPr/>
          <p:nvPr/>
        </p:nvGrpSpPr>
        <p:grpSpPr>
          <a:xfrm>
            <a:off x="2518298" y="1067622"/>
            <a:ext cx="2408048" cy="907716"/>
            <a:chOff x="2758354" y="1493962"/>
            <a:chExt cx="2408048" cy="907716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E977D17C-582B-4C71-4B96-494F8B89D209}"/>
                </a:ext>
              </a:extLst>
            </p:cNvPr>
            <p:cNvSpPr txBox="1"/>
            <p:nvPr/>
          </p:nvSpPr>
          <p:spPr>
            <a:xfrm>
              <a:off x="2965399" y="1663014"/>
              <a:ext cx="2201003" cy="73866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uk-UA" dirty="0">
                  <a:latin typeface="Fira Sans" panose="020B0503050000020004" pitchFamily="34" charset="0"/>
                </a:rPr>
                <a:t>Натисніть </a:t>
              </a:r>
              <a:r>
                <a:rPr lang="uk-UA" b="1" dirty="0">
                  <a:latin typeface="Fira Sans" panose="020B0503050000020004" pitchFamily="34" charset="0"/>
                </a:rPr>
                <a:t>Переглянути розклад</a:t>
              </a:r>
              <a:endParaRPr lang="en-US" b="1" dirty="0">
                <a:latin typeface="Fira Sans" panose="020B0503050000020004" pitchFamily="34" charset="0"/>
              </a:endParaRPr>
            </a:p>
          </p:txBody>
        </p:sp>
        <p:sp>
          <p:nvSpPr>
            <p:cNvPr id="16" name="Flowchart: Connector 15">
              <a:extLst>
                <a:ext uri="{FF2B5EF4-FFF2-40B4-BE49-F238E27FC236}">
                  <a16:creationId xmlns:a16="http://schemas.microsoft.com/office/drawing/2014/main" id="{89AFADCA-9D1B-FF83-778C-0A543898CD0A}"/>
                </a:ext>
              </a:extLst>
            </p:cNvPr>
            <p:cNvSpPr/>
            <p:nvPr/>
          </p:nvSpPr>
          <p:spPr bwMode="auto">
            <a:xfrm>
              <a:off x="2758354" y="1493962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1</a:t>
              </a:r>
              <a:endParaRPr kumimoji="0" lang="en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sp>
        <p:nvSpPr>
          <p:cNvPr id="28" name="Oval 27">
            <a:extLst>
              <a:ext uri="{FF2B5EF4-FFF2-40B4-BE49-F238E27FC236}">
                <a16:creationId xmlns:a16="http://schemas.microsoft.com/office/drawing/2014/main" id="{A14C2E81-FC9C-E53A-6B84-8769C50E77F2}"/>
              </a:ext>
            </a:extLst>
          </p:cNvPr>
          <p:cNvSpPr/>
          <p:nvPr/>
        </p:nvSpPr>
        <p:spPr bwMode="auto">
          <a:xfrm>
            <a:off x="2344288" y="4953398"/>
            <a:ext cx="1939638" cy="332009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8A2DA3AF-01CF-67D8-9779-915EA5F64DB1}"/>
              </a:ext>
            </a:extLst>
          </p:cNvPr>
          <p:cNvSpPr/>
          <p:nvPr/>
        </p:nvSpPr>
        <p:spPr bwMode="auto">
          <a:xfrm>
            <a:off x="4181434" y="5702456"/>
            <a:ext cx="2260787" cy="599085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08E4933-7029-4D1B-3D83-217D5B10EC58}"/>
              </a:ext>
            </a:extLst>
          </p:cNvPr>
          <p:cNvSpPr/>
          <p:nvPr/>
        </p:nvSpPr>
        <p:spPr bwMode="auto">
          <a:xfrm>
            <a:off x="4181434" y="7213364"/>
            <a:ext cx="2260787" cy="599085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en-US">
              <a:latin typeface="Arial" pitchFamily="34" charset="0"/>
              <a:cs typeface="Arial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BE8411A-80A1-EA60-B47A-639BD572DAB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3759" y="1012026"/>
            <a:ext cx="2136426" cy="4552465"/>
          </a:xfrm>
          <a:prstGeom prst="rect">
            <a:avLst/>
          </a:prstGeom>
        </p:spPr>
      </p:pic>
      <p:sp>
        <p:nvSpPr>
          <p:cNvPr id="26" name="Oval 25">
            <a:extLst>
              <a:ext uri="{FF2B5EF4-FFF2-40B4-BE49-F238E27FC236}">
                <a16:creationId xmlns:a16="http://schemas.microsoft.com/office/drawing/2014/main" id="{D37839C3-C557-AAD8-E012-D193916036A8}"/>
              </a:ext>
            </a:extLst>
          </p:cNvPr>
          <p:cNvSpPr/>
          <p:nvPr/>
        </p:nvSpPr>
        <p:spPr bwMode="auto">
          <a:xfrm>
            <a:off x="211775" y="3925036"/>
            <a:ext cx="1159065" cy="284602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en-US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" name="Group 10">
            <a:extLst>
              <a:ext uri="{FF2B5EF4-FFF2-40B4-BE49-F238E27FC236}">
                <a16:creationId xmlns:a16="http://schemas.microsoft.com/office/drawing/2014/main" id="{E664F4D6-92A2-63E2-5845-4BBE723C40C6}"/>
              </a:ext>
            </a:extLst>
          </p:cNvPr>
          <p:cNvGrpSpPr/>
          <p:nvPr/>
        </p:nvGrpSpPr>
        <p:grpSpPr>
          <a:xfrm>
            <a:off x="2211963" y="2518430"/>
            <a:ext cx="2260788" cy="4552465"/>
            <a:chOff x="0" y="0"/>
            <a:chExt cx="3929993" cy="7694996"/>
          </a:xfrm>
        </p:grpSpPr>
        <p:sp>
          <p:nvSpPr>
            <p:cNvPr id="3" name="Freeform 11">
              <a:extLst>
                <a:ext uri="{FF2B5EF4-FFF2-40B4-BE49-F238E27FC236}">
                  <a16:creationId xmlns:a16="http://schemas.microsoft.com/office/drawing/2014/main" id="{F44025F7-C2A0-92A8-29F6-C269B3990080}"/>
                </a:ext>
              </a:extLst>
            </p:cNvPr>
            <p:cNvSpPr/>
            <p:nvPr/>
          </p:nvSpPr>
          <p:spPr>
            <a:xfrm>
              <a:off x="0" y="0"/>
              <a:ext cx="3929993" cy="7694996"/>
            </a:xfrm>
            <a:custGeom>
              <a:avLst/>
              <a:gdLst/>
              <a:ahLst/>
              <a:cxnLst/>
              <a:rect l="l" t="t" r="r" b="b"/>
              <a:pathLst>
                <a:path w="3929993" h="7694996">
                  <a:moveTo>
                    <a:pt x="0" y="0"/>
                  </a:moveTo>
                  <a:lnTo>
                    <a:pt x="3929993" y="0"/>
                  </a:lnTo>
                  <a:lnTo>
                    <a:pt x="3929993" y="7694996"/>
                  </a:lnTo>
                  <a:lnTo>
                    <a:pt x="0" y="7694996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7"/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7" name="Freeform 3">
            <a:extLst>
              <a:ext uri="{FF2B5EF4-FFF2-40B4-BE49-F238E27FC236}">
                <a16:creationId xmlns:a16="http://schemas.microsoft.com/office/drawing/2014/main" id="{A43F3E79-AB97-B038-CC9C-4814F81C239E}"/>
              </a:ext>
            </a:extLst>
          </p:cNvPr>
          <p:cNvSpPr/>
          <p:nvPr/>
        </p:nvSpPr>
        <p:spPr>
          <a:xfrm>
            <a:off x="4128214" y="4591407"/>
            <a:ext cx="2344725" cy="4915726"/>
          </a:xfrm>
          <a:custGeom>
            <a:avLst/>
            <a:gdLst/>
            <a:ahLst/>
            <a:cxnLst/>
            <a:rect l="l" t="t" r="r" b="b"/>
            <a:pathLst>
              <a:path w="6038988" h="11824447">
                <a:moveTo>
                  <a:pt x="0" y="0"/>
                </a:moveTo>
                <a:lnTo>
                  <a:pt x="6038988" y="0"/>
                </a:lnTo>
                <a:lnTo>
                  <a:pt x="6038988" y="11824447"/>
                </a:lnTo>
                <a:lnTo>
                  <a:pt x="0" y="11824447"/>
                </a:lnTo>
                <a:lnTo>
                  <a:pt x="0" y="0"/>
                </a:lnTo>
                <a:close/>
              </a:path>
            </a:pathLst>
          </a:custGeom>
          <a:blipFill>
            <a:blip r:embed="rId8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90FEA4C2-A8DE-912C-4EB6-7E3E7B66AABF}"/>
              </a:ext>
            </a:extLst>
          </p:cNvPr>
          <p:cNvSpPr/>
          <p:nvPr/>
        </p:nvSpPr>
        <p:spPr bwMode="auto">
          <a:xfrm>
            <a:off x="2635680" y="5020475"/>
            <a:ext cx="1159065" cy="284602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7D2CD86F-13F4-7F3F-CDB3-9A73414572AF}"/>
              </a:ext>
            </a:extLst>
          </p:cNvPr>
          <p:cNvSpPr/>
          <p:nvPr/>
        </p:nvSpPr>
        <p:spPr bwMode="auto">
          <a:xfrm>
            <a:off x="4181434" y="5685965"/>
            <a:ext cx="2207568" cy="667999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en-US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91032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880F51-A6A5-7244-575D-BF3175E32711}"/>
              </a:ext>
            </a:extLst>
          </p:cNvPr>
          <p:cNvSpPr/>
          <p:nvPr/>
        </p:nvSpPr>
        <p:spPr bwMode="auto">
          <a:xfrm>
            <a:off x="0" y="0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7082759-064D-BD97-C9C7-6B426C7D52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4009" y="8682623"/>
            <a:ext cx="1073746" cy="55763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06052F7-FFCF-3D54-7058-F7602DCC00C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90" t="15643" r="8290" b="63387"/>
          <a:stretch/>
        </p:blipFill>
        <p:spPr>
          <a:xfrm>
            <a:off x="0" y="288969"/>
            <a:ext cx="3327400" cy="557636"/>
          </a:xfrm>
          <a:custGeom>
            <a:avLst/>
            <a:gdLst>
              <a:gd name="connsiteX0" fmla="*/ 0 w 3327400"/>
              <a:gd name="connsiteY0" fmla="*/ 0 h 557636"/>
              <a:gd name="connsiteX1" fmla="*/ 3234459 w 3327400"/>
              <a:gd name="connsiteY1" fmla="*/ 0 h 557636"/>
              <a:gd name="connsiteX2" fmla="*/ 3327400 w 3327400"/>
              <a:gd name="connsiteY2" fmla="*/ 92941 h 557636"/>
              <a:gd name="connsiteX3" fmla="*/ 3327400 w 3327400"/>
              <a:gd name="connsiteY3" fmla="*/ 464695 h 557636"/>
              <a:gd name="connsiteX4" fmla="*/ 3234459 w 3327400"/>
              <a:gd name="connsiteY4" fmla="*/ 557636 h 557636"/>
              <a:gd name="connsiteX5" fmla="*/ 0 w 3327400"/>
              <a:gd name="connsiteY5" fmla="*/ 557636 h 557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27400" h="557636">
                <a:moveTo>
                  <a:pt x="0" y="0"/>
                </a:moveTo>
                <a:lnTo>
                  <a:pt x="3234459" y="0"/>
                </a:lnTo>
                <a:cubicBezTo>
                  <a:pt x="3285789" y="0"/>
                  <a:pt x="3327400" y="41611"/>
                  <a:pt x="3327400" y="92941"/>
                </a:cubicBezTo>
                <a:lnTo>
                  <a:pt x="3327400" y="464695"/>
                </a:lnTo>
                <a:cubicBezTo>
                  <a:pt x="3327400" y="516025"/>
                  <a:pt x="3285789" y="557636"/>
                  <a:pt x="3234459" y="557636"/>
                </a:cubicBezTo>
                <a:lnTo>
                  <a:pt x="0" y="557636"/>
                </a:lnTo>
                <a:close/>
              </a:path>
            </a:pathLst>
          </a:cu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5B311F5-E604-16F1-6AC1-275B0747E7D6}"/>
              </a:ext>
            </a:extLst>
          </p:cNvPr>
          <p:cNvSpPr/>
          <p:nvPr/>
        </p:nvSpPr>
        <p:spPr bwMode="auto">
          <a:xfrm>
            <a:off x="-50800" y="246124"/>
            <a:ext cx="3429000" cy="643689"/>
          </a:xfrm>
          <a:prstGeom prst="roundRect">
            <a:avLst/>
          </a:prstGeom>
          <a:solidFill>
            <a:schemeClr val="accent3"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200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Перегляд Ваших клієнтів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8CD6534-0BFC-C398-645B-5C66E5629F48}"/>
              </a:ext>
            </a:extLst>
          </p:cNvPr>
          <p:cNvSpPr txBox="1"/>
          <p:nvPr/>
        </p:nvSpPr>
        <p:spPr>
          <a:xfrm>
            <a:off x="1706840" y="2093730"/>
            <a:ext cx="558876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800" b="1">
                <a:solidFill>
                  <a:schemeClr val="accent3"/>
                </a:solidFill>
              </a:rPr>
              <a:t>$250.00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F8DF819-B224-AE4C-EA7C-0D0D9964DE26}"/>
              </a:ext>
            </a:extLst>
          </p:cNvPr>
          <p:cNvGrpSpPr/>
          <p:nvPr/>
        </p:nvGrpSpPr>
        <p:grpSpPr>
          <a:xfrm>
            <a:off x="4223788" y="2821049"/>
            <a:ext cx="2531730" cy="1328452"/>
            <a:chOff x="4143528" y="2469838"/>
            <a:chExt cx="2531730" cy="1328452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102EDD1-1428-7AEA-54B0-CBC3B4AC3244}"/>
                </a:ext>
              </a:extLst>
            </p:cNvPr>
            <p:cNvSpPr txBox="1"/>
            <p:nvPr/>
          </p:nvSpPr>
          <p:spPr>
            <a:xfrm>
              <a:off x="4342450" y="2668023"/>
              <a:ext cx="2332808" cy="1130267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0" rIns="91440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ru-RU" sz="1400" dirty="0">
                  <a:latin typeface="Fira Sans" panose="020B0503050000020004" pitchFamily="34" charset="0"/>
                </a:rPr>
                <a:t>Натисніть </a:t>
              </a:r>
              <a:r>
                <a:rPr lang="ru-RU" sz="1400" b="1" dirty="0">
                  <a:latin typeface="Fira Sans" panose="020B0503050000020004" pitchFamily="34" charset="0"/>
                </a:rPr>
                <a:t>Переглянути напрямки</a:t>
              </a:r>
              <a:r>
                <a:rPr lang="ru-RU" sz="1400" dirty="0">
                  <a:latin typeface="Fira Sans" panose="020B0503050000020004" pitchFamily="34" charset="0"/>
                </a:rPr>
                <a:t>, щоб відкрити маршрут до місця розташування вашого клієнта</a:t>
              </a:r>
              <a:endParaRPr lang="en-US" sz="1200" dirty="0">
                <a:latin typeface="Fira Sans" panose="020B0503050000020004" pitchFamily="34" charset="0"/>
              </a:endParaRPr>
            </a:p>
          </p:txBody>
        </p:sp>
        <p:sp>
          <p:nvSpPr>
            <p:cNvPr id="11" name="Flowchart: Connector 10">
              <a:extLst>
                <a:ext uri="{FF2B5EF4-FFF2-40B4-BE49-F238E27FC236}">
                  <a16:creationId xmlns:a16="http://schemas.microsoft.com/office/drawing/2014/main" id="{2E9D7565-4296-8DD5-4058-DE28E561ABCD}"/>
                </a:ext>
              </a:extLst>
            </p:cNvPr>
            <p:cNvSpPr/>
            <p:nvPr/>
          </p:nvSpPr>
          <p:spPr bwMode="auto">
            <a:xfrm>
              <a:off x="4143528" y="2469838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2</a:t>
              </a:r>
              <a:endParaRPr kumimoji="0" lang="en-US" sz="11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BDFCE0E-EA5B-948C-DD7A-BB6CCCB76198}"/>
              </a:ext>
            </a:extLst>
          </p:cNvPr>
          <p:cNvGrpSpPr/>
          <p:nvPr/>
        </p:nvGrpSpPr>
        <p:grpSpPr>
          <a:xfrm>
            <a:off x="1039439" y="7509841"/>
            <a:ext cx="2667343" cy="1275518"/>
            <a:chOff x="2546948" y="1366319"/>
            <a:chExt cx="2667343" cy="127551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1C3E085-C705-FCEA-09F2-6DFB503D0DF9}"/>
                </a:ext>
              </a:extLst>
            </p:cNvPr>
            <p:cNvSpPr txBox="1"/>
            <p:nvPr/>
          </p:nvSpPr>
          <p:spPr>
            <a:xfrm>
              <a:off x="2546948" y="1539231"/>
              <a:ext cx="2520577" cy="1102606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ru-RU" sz="1400" dirty="0">
                  <a:latin typeface="Fira Sans"/>
                  <a:cs typeface="Arial"/>
                </a:rPr>
                <a:t>Натисніть </a:t>
              </a:r>
              <a:r>
                <a:rPr lang="ru-RU" sz="1400" b="1" dirty="0">
                  <a:latin typeface="Fira Sans"/>
                  <a:cs typeface="Arial"/>
                </a:rPr>
                <a:t>Напрямки</a:t>
              </a:r>
              <a:r>
                <a:rPr lang="ru-RU" sz="1400" dirty="0">
                  <a:latin typeface="Fira Sans"/>
                  <a:cs typeface="Arial"/>
                </a:rPr>
                <a:t> в </a:t>
              </a:r>
              <a:r>
                <a:rPr lang="en-US" sz="1400" dirty="0">
                  <a:latin typeface="Fira Sans"/>
                  <a:cs typeface="Arial"/>
                </a:rPr>
                <a:t>Apple </a:t>
              </a:r>
              <a:r>
                <a:rPr lang="ru-RU" sz="1400" dirty="0">
                  <a:latin typeface="Fira Sans"/>
                  <a:cs typeface="Arial"/>
                </a:rPr>
                <a:t>або </a:t>
              </a:r>
              <a:r>
                <a:rPr lang="en-US" sz="1400" dirty="0">
                  <a:latin typeface="Fira Sans"/>
                  <a:cs typeface="Arial"/>
                </a:rPr>
                <a:t>Google Maps, </a:t>
              </a:r>
              <a:r>
                <a:rPr lang="ru-RU" sz="1400" dirty="0">
                  <a:latin typeface="Fira Sans"/>
                  <a:cs typeface="Arial"/>
                </a:rPr>
                <a:t>щоб навігувати до адреси клієнта</a:t>
              </a:r>
              <a:endParaRPr lang="en-US" sz="1400" dirty="0">
                <a:latin typeface="Fira Sans"/>
                <a:cs typeface="Arial"/>
              </a:endParaRPr>
            </a:p>
          </p:txBody>
        </p:sp>
        <p:sp>
          <p:nvSpPr>
            <p:cNvPr id="15" name="Flowchart: Connector 14">
              <a:extLst>
                <a:ext uri="{FF2B5EF4-FFF2-40B4-BE49-F238E27FC236}">
                  <a16:creationId xmlns:a16="http://schemas.microsoft.com/office/drawing/2014/main" id="{F3D7EB85-B490-947D-4F4F-4AD4D9855D77}"/>
                </a:ext>
              </a:extLst>
            </p:cNvPr>
            <p:cNvSpPr/>
            <p:nvPr/>
          </p:nvSpPr>
          <p:spPr bwMode="auto">
            <a:xfrm>
              <a:off x="4848531" y="1366319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3</a:t>
              </a:r>
              <a:endParaRPr kumimoji="0" lang="en-US" sz="11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4F9DCF87-2A01-7115-F3D0-AB7161982B7F}"/>
              </a:ext>
            </a:extLst>
          </p:cNvPr>
          <p:cNvGrpSpPr/>
          <p:nvPr/>
        </p:nvGrpSpPr>
        <p:grpSpPr>
          <a:xfrm>
            <a:off x="2504534" y="993473"/>
            <a:ext cx="2923158" cy="895494"/>
            <a:chOff x="2696346" y="1429957"/>
            <a:chExt cx="2923158" cy="895494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6DB04B08-E9ED-6061-220B-1273BC9A4F71}"/>
                </a:ext>
              </a:extLst>
            </p:cNvPr>
            <p:cNvSpPr txBox="1"/>
            <p:nvPr/>
          </p:nvSpPr>
          <p:spPr>
            <a:xfrm>
              <a:off x="2901160" y="1586787"/>
              <a:ext cx="2718344" cy="73866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ru-RU" sz="1400" dirty="0">
                  <a:latin typeface="Fira Sans" panose="020B0503050000020004" pitchFamily="34" charset="0"/>
                </a:rPr>
                <a:t>Натисніть </a:t>
              </a:r>
              <a:r>
                <a:rPr lang="ru-RU" sz="1400" b="1" dirty="0">
                  <a:latin typeface="Fira Sans" panose="020B0503050000020004" pitchFamily="34" charset="0"/>
                </a:rPr>
                <a:t>Переглянути клієнтів</a:t>
              </a:r>
              <a:r>
                <a:rPr lang="ru-RU" sz="1400" dirty="0">
                  <a:latin typeface="Fira Sans" panose="020B0503050000020004" pitchFamily="34" charset="0"/>
                </a:rPr>
                <a:t>, щоб побачити поточний список клієнтів</a:t>
              </a:r>
              <a:endParaRPr lang="en-US" sz="1400" dirty="0">
                <a:latin typeface="Fira Sans" panose="020B0503050000020004" pitchFamily="34" charset="0"/>
              </a:endParaRPr>
            </a:p>
          </p:txBody>
        </p:sp>
        <p:sp>
          <p:nvSpPr>
            <p:cNvPr id="5" name="Flowchart: Connector 4">
              <a:extLst>
                <a:ext uri="{FF2B5EF4-FFF2-40B4-BE49-F238E27FC236}">
                  <a16:creationId xmlns:a16="http://schemas.microsoft.com/office/drawing/2014/main" id="{F5A3C4B4-06DB-3D9A-91DA-D7A324BFC2B4}"/>
                </a:ext>
              </a:extLst>
            </p:cNvPr>
            <p:cNvSpPr/>
            <p:nvPr/>
          </p:nvSpPr>
          <p:spPr bwMode="auto">
            <a:xfrm>
              <a:off x="2696346" y="1429957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1</a:t>
              </a:r>
              <a:endParaRPr kumimoji="0" lang="en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B9DC11AA-4BFA-D7BF-96A3-76E7BEE8F32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6355" y="1012977"/>
            <a:ext cx="2136426" cy="4552465"/>
          </a:xfrm>
          <a:prstGeom prst="rect">
            <a:avLst/>
          </a:prstGeom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98223A23-BED2-F918-2807-31CC6D4457D9}"/>
              </a:ext>
            </a:extLst>
          </p:cNvPr>
          <p:cNvGrpSpPr/>
          <p:nvPr/>
        </p:nvGrpSpPr>
        <p:grpSpPr>
          <a:xfrm>
            <a:off x="2023139" y="2874400"/>
            <a:ext cx="2190120" cy="4374223"/>
            <a:chOff x="7145419" y="1869582"/>
            <a:chExt cx="2190120" cy="4374223"/>
          </a:xfrm>
        </p:grpSpPr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3544415D-695E-1B9F-E5C0-D56B2368C66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145419" y="1869582"/>
              <a:ext cx="2190120" cy="4374223"/>
            </a:xfrm>
            <a:prstGeom prst="roundRect">
              <a:avLst/>
            </a:prstGeom>
          </p:spPr>
        </p:pic>
        <p:pic>
          <p:nvPicPr>
            <p:cNvPr id="33" name="Picture 32" descr="A screenshot of a phone&#10;&#10;Description automatically generated">
              <a:extLst>
                <a:ext uri="{FF2B5EF4-FFF2-40B4-BE49-F238E27FC236}">
                  <a16:creationId xmlns:a16="http://schemas.microsoft.com/office/drawing/2014/main" id="{D6349426-E194-01B4-88B5-3467AA50F927}"/>
                </a:ext>
              </a:extLst>
            </p:cNvPr>
            <p:cNvPicPr>
              <a:picLocks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272843" y="1940767"/>
              <a:ext cx="1945801" cy="4170784"/>
            </a:xfrm>
            <a:prstGeom prst="roundRect">
              <a:avLst/>
            </a:prstGeom>
            <a:ln>
              <a:solidFill>
                <a:srgbClr val="000000"/>
              </a:solidFill>
            </a:ln>
          </p:spPr>
        </p:pic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ED220C12-EA36-50FE-0718-1388AF6745BC}"/>
                </a:ext>
              </a:extLst>
            </p:cNvPr>
            <p:cNvSpPr/>
            <p:nvPr/>
          </p:nvSpPr>
          <p:spPr bwMode="auto">
            <a:xfrm flipH="1">
              <a:off x="7314089" y="2982458"/>
              <a:ext cx="939451" cy="273327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algn="l"/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F41A8539-C248-51A7-0896-029C6E3751B1}"/>
              </a:ext>
            </a:extLst>
          </p:cNvPr>
          <p:cNvGrpSpPr/>
          <p:nvPr/>
        </p:nvGrpSpPr>
        <p:grpSpPr>
          <a:xfrm>
            <a:off x="3734445" y="4776479"/>
            <a:ext cx="2190120" cy="4374223"/>
            <a:chOff x="7875461" y="1339848"/>
            <a:chExt cx="2190120" cy="4374223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BC0961CD-0011-AC11-FFE7-A98C5B732BFF}"/>
                </a:ext>
              </a:extLst>
            </p:cNvPr>
            <p:cNvGrpSpPr/>
            <p:nvPr/>
          </p:nvGrpSpPr>
          <p:grpSpPr>
            <a:xfrm>
              <a:off x="7875461" y="1339848"/>
              <a:ext cx="2190120" cy="4374223"/>
              <a:chOff x="7875461" y="1339848"/>
              <a:chExt cx="2190120" cy="4374223"/>
            </a:xfrm>
          </p:grpSpPr>
          <p:pic>
            <p:nvPicPr>
              <p:cNvPr id="27" name="Picture 26">
                <a:extLst>
                  <a:ext uri="{FF2B5EF4-FFF2-40B4-BE49-F238E27FC236}">
                    <a16:creationId xmlns:a16="http://schemas.microsoft.com/office/drawing/2014/main" id="{FB96576B-F51E-C4E3-8D33-7C923A484A6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7875461" y="1339848"/>
                <a:ext cx="2190120" cy="4374223"/>
              </a:xfrm>
              <a:prstGeom prst="roundRect">
                <a:avLst/>
              </a:prstGeom>
            </p:spPr>
          </p:pic>
          <p:pic>
            <p:nvPicPr>
              <p:cNvPr id="28" name="Picture 27" descr="A screenshot of a map&#10;&#10;Description automatically generated">
                <a:extLst>
                  <a:ext uri="{FF2B5EF4-FFF2-40B4-BE49-F238E27FC236}">
                    <a16:creationId xmlns:a16="http://schemas.microsoft.com/office/drawing/2014/main" id="{8EB2CF59-4D62-C3FA-0A3D-7642B1663E6A}"/>
                  </a:ext>
                </a:extLst>
              </p:cNvPr>
              <p:cNvPicPr>
                <a:picLocks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7987004" y="1446246"/>
                <a:ext cx="1972573" cy="4124131"/>
              </a:xfrm>
              <a:prstGeom prst="roundRect">
                <a:avLst/>
              </a:prstGeom>
              <a:ln>
                <a:solidFill>
                  <a:schemeClr val="tx1"/>
                </a:solidFill>
              </a:ln>
            </p:spPr>
          </p:pic>
        </p:grp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41A6B8C0-B14A-5357-C8B4-0ABCB86269F0}"/>
                </a:ext>
              </a:extLst>
            </p:cNvPr>
            <p:cNvSpPr/>
            <p:nvPr/>
          </p:nvSpPr>
          <p:spPr bwMode="auto">
            <a:xfrm>
              <a:off x="7953802" y="3915652"/>
              <a:ext cx="872958" cy="306792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algn="l"/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0" name="Oval 19">
            <a:extLst>
              <a:ext uri="{FF2B5EF4-FFF2-40B4-BE49-F238E27FC236}">
                <a16:creationId xmlns:a16="http://schemas.microsoft.com/office/drawing/2014/main" id="{F90D5941-35A5-7AE8-484D-5867722A359A}"/>
              </a:ext>
            </a:extLst>
          </p:cNvPr>
          <p:cNvSpPr/>
          <p:nvPr/>
        </p:nvSpPr>
        <p:spPr bwMode="auto">
          <a:xfrm>
            <a:off x="197951" y="3194020"/>
            <a:ext cx="1043585" cy="190377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23924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880F51-A6A5-7244-575D-BF3175E32711}"/>
              </a:ext>
            </a:extLst>
          </p:cNvPr>
          <p:cNvSpPr/>
          <p:nvPr/>
        </p:nvSpPr>
        <p:spPr bwMode="auto">
          <a:xfrm>
            <a:off x="25385" y="0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7082759-064D-BD97-C9C7-6B426C7D52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4009" y="8682623"/>
            <a:ext cx="1073746" cy="55763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06052F7-FFCF-3D54-7058-F7602DCC00C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90" t="15643" r="8290" b="63387"/>
          <a:stretch/>
        </p:blipFill>
        <p:spPr>
          <a:xfrm>
            <a:off x="0" y="288969"/>
            <a:ext cx="3327400" cy="557636"/>
          </a:xfrm>
          <a:custGeom>
            <a:avLst/>
            <a:gdLst>
              <a:gd name="connsiteX0" fmla="*/ 0 w 3327400"/>
              <a:gd name="connsiteY0" fmla="*/ 0 h 557636"/>
              <a:gd name="connsiteX1" fmla="*/ 3234459 w 3327400"/>
              <a:gd name="connsiteY1" fmla="*/ 0 h 557636"/>
              <a:gd name="connsiteX2" fmla="*/ 3327400 w 3327400"/>
              <a:gd name="connsiteY2" fmla="*/ 92941 h 557636"/>
              <a:gd name="connsiteX3" fmla="*/ 3327400 w 3327400"/>
              <a:gd name="connsiteY3" fmla="*/ 464695 h 557636"/>
              <a:gd name="connsiteX4" fmla="*/ 3234459 w 3327400"/>
              <a:gd name="connsiteY4" fmla="*/ 557636 h 557636"/>
              <a:gd name="connsiteX5" fmla="*/ 0 w 3327400"/>
              <a:gd name="connsiteY5" fmla="*/ 557636 h 557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27400" h="557636">
                <a:moveTo>
                  <a:pt x="0" y="0"/>
                </a:moveTo>
                <a:lnTo>
                  <a:pt x="3234459" y="0"/>
                </a:lnTo>
                <a:cubicBezTo>
                  <a:pt x="3285789" y="0"/>
                  <a:pt x="3327400" y="41611"/>
                  <a:pt x="3327400" y="92941"/>
                </a:cubicBezTo>
                <a:lnTo>
                  <a:pt x="3327400" y="464695"/>
                </a:lnTo>
                <a:cubicBezTo>
                  <a:pt x="3327400" y="516025"/>
                  <a:pt x="3285789" y="557636"/>
                  <a:pt x="3234459" y="557636"/>
                </a:cubicBezTo>
                <a:lnTo>
                  <a:pt x="0" y="557636"/>
                </a:lnTo>
                <a:close/>
              </a:path>
            </a:pathLst>
          </a:cu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5B311F5-E604-16F1-6AC1-275B0747E7D6}"/>
              </a:ext>
            </a:extLst>
          </p:cNvPr>
          <p:cNvSpPr/>
          <p:nvPr/>
        </p:nvSpPr>
        <p:spPr bwMode="auto">
          <a:xfrm>
            <a:off x="-50800" y="251310"/>
            <a:ext cx="3429000" cy="647684"/>
          </a:xfrm>
          <a:prstGeom prst="roundRect">
            <a:avLst/>
          </a:prstGeom>
          <a:solidFill>
            <a:schemeClr val="accent3"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200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Перегляд Вашого розкладу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F8DF819-B224-AE4C-EA7C-0D0D9964DE26}"/>
              </a:ext>
            </a:extLst>
          </p:cNvPr>
          <p:cNvGrpSpPr/>
          <p:nvPr/>
        </p:nvGrpSpPr>
        <p:grpSpPr>
          <a:xfrm>
            <a:off x="4469715" y="2901608"/>
            <a:ext cx="2377890" cy="1606970"/>
            <a:chOff x="4574076" y="3143913"/>
            <a:chExt cx="2377890" cy="1139039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102EDD1-1428-7AEA-54B0-CBC3B4AC3244}"/>
                </a:ext>
              </a:extLst>
            </p:cNvPr>
            <p:cNvSpPr txBox="1"/>
            <p:nvPr/>
          </p:nvSpPr>
          <p:spPr>
            <a:xfrm>
              <a:off x="4727230" y="3296034"/>
              <a:ext cx="2224736" cy="986918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0" rIns="91440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ru-RU" sz="1200" dirty="0">
                  <a:latin typeface="Fira Sans" panose="020B0503050000020004" pitchFamily="34" charset="0"/>
                </a:rPr>
                <a:t>Розклад на цей тиждень буде відображено. Натисніть на кожен візит, щоб побачити деталі розкладу вашої зміни</a:t>
              </a:r>
              <a:endParaRPr lang="en-US" sz="1200" dirty="0">
                <a:latin typeface="Fira Sans" panose="020B0503050000020004" pitchFamily="34" charset="0"/>
              </a:endParaRPr>
            </a:p>
          </p:txBody>
        </p:sp>
        <p:sp>
          <p:nvSpPr>
            <p:cNvPr id="11" name="Flowchart: Connector 10">
              <a:extLst>
                <a:ext uri="{FF2B5EF4-FFF2-40B4-BE49-F238E27FC236}">
                  <a16:creationId xmlns:a16="http://schemas.microsoft.com/office/drawing/2014/main" id="{2E9D7565-4296-8DD5-4058-DE28E561ABCD}"/>
                </a:ext>
              </a:extLst>
            </p:cNvPr>
            <p:cNvSpPr/>
            <p:nvPr/>
          </p:nvSpPr>
          <p:spPr bwMode="auto">
            <a:xfrm>
              <a:off x="4574076" y="3143913"/>
              <a:ext cx="365760" cy="260875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2</a:t>
              </a:r>
              <a:endParaRPr kumimoji="0" lang="en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BDFCE0E-EA5B-948C-DD7A-BB6CCCB76198}"/>
              </a:ext>
            </a:extLst>
          </p:cNvPr>
          <p:cNvGrpSpPr/>
          <p:nvPr/>
        </p:nvGrpSpPr>
        <p:grpSpPr>
          <a:xfrm>
            <a:off x="970882" y="7338850"/>
            <a:ext cx="2840164" cy="1268877"/>
            <a:chOff x="2478391" y="1195328"/>
            <a:chExt cx="2840164" cy="1268877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1C3E085-C705-FCEA-09F2-6DFB503D0DF9}"/>
                </a:ext>
              </a:extLst>
            </p:cNvPr>
            <p:cNvSpPr txBox="1"/>
            <p:nvPr/>
          </p:nvSpPr>
          <p:spPr>
            <a:xfrm>
              <a:off x="2478391" y="1346922"/>
              <a:ext cx="2686275" cy="111728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ru-RU" sz="1400" dirty="0">
                  <a:latin typeface="Fira Sans"/>
                  <a:cs typeface="Arial"/>
                </a:rPr>
                <a:t>Натисніть </a:t>
              </a:r>
              <a:r>
                <a:rPr lang="ru-RU" sz="1400" b="1" dirty="0">
                  <a:latin typeface="Fira Sans"/>
                  <a:cs typeface="Arial"/>
                </a:rPr>
                <a:t>стрілки</a:t>
              </a:r>
              <a:r>
                <a:rPr lang="ru-RU" sz="1400" dirty="0">
                  <a:latin typeface="Fira Sans"/>
                  <a:cs typeface="Arial"/>
                </a:rPr>
                <a:t> у верхньому правому куті, щоб перейти до минулих або майбутніх візитів</a:t>
              </a:r>
            </a:p>
          </p:txBody>
        </p:sp>
        <p:sp>
          <p:nvSpPr>
            <p:cNvPr id="15" name="Flowchart: Connector 14">
              <a:extLst>
                <a:ext uri="{FF2B5EF4-FFF2-40B4-BE49-F238E27FC236}">
                  <a16:creationId xmlns:a16="http://schemas.microsoft.com/office/drawing/2014/main" id="{F3D7EB85-B490-947D-4F4F-4AD4D9855D77}"/>
                </a:ext>
              </a:extLst>
            </p:cNvPr>
            <p:cNvSpPr/>
            <p:nvPr/>
          </p:nvSpPr>
          <p:spPr bwMode="auto">
            <a:xfrm>
              <a:off x="4952795" y="1195328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3</a:t>
              </a:r>
              <a:endParaRPr kumimoji="0" lang="en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4F9DCF87-2A01-7115-F3D0-AB7161982B7F}"/>
              </a:ext>
            </a:extLst>
          </p:cNvPr>
          <p:cNvGrpSpPr/>
          <p:nvPr/>
        </p:nvGrpSpPr>
        <p:grpSpPr>
          <a:xfrm>
            <a:off x="2504534" y="993473"/>
            <a:ext cx="2923158" cy="895494"/>
            <a:chOff x="2696346" y="1429957"/>
            <a:chExt cx="2923158" cy="895494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6DB04B08-E9ED-6061-220B-1273BC9A4F71}"/>
                </a:ext>
              </a:extLst>
            </p:cNvPr>
            <p:cNvSpPr txBox="1"/>
            <p:nvPr/>
          </p:nvSpPr>
          <p:spPr>
            <a:xfrm>
              <a:off x="2901160" y="1586787"/>
              <a:ext cx="2718344" cy="73866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uk-UA" sz="1400" dirty="0">
                  <a:latin typeface="Fira Sans" panose="020B0503050000020004" pitchFamily="34" charset="0"/>
                </a:rPr>
                <a:t>Натисніть </a:t>
              </a:r>
              <a:r>
                <a:rPr lang="uk-UA" sz="1400" b="1" dirty="0">
                  <a:latin typeface="Fira Sans" panose="020B0503050000020004" pitchFamily="34" charset="0"/>
                </a:rPr>
                <a:t>Переглянути розклад</a:t>
              </a:r>
              <a:endParaRPr lang="en-US" sz="1400" b="1" dirty="0">
                <a:latin typeface="Fira Sans" panose="020B0503050000020004" pitchFamily="34" charset="0"/>
              </a:endParaRPr>
            </a:p>
          </p:txBody>
        </p:sp>
        <p:sp>
          <p:nvSpPr>
            <p:cNvPr id="5" name="Flowchart: Connector 4">
              <a:extLst>
                <a:ext uri="{FF2B5EF4-FFF2-40B4-BE49-F238E27FC236}">
                  <a16:creationId xmlns:a16="http://schemas.microsoft.com/office/drawing/2014/main" id="{F5A3C4B4-06DB-3D9A-91DA-D7A324BFC2B4}"/>
                </a:ext>
              </a:extLst>
            </p:cNvPr>
            <p:cNvSpPr/>
            <p:nvPr/>
          </p:nvSpPr>
          <p:spPr bwMode="auto">
            <a:xfrm>
              <a:off x="2696346" y="1429957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1</a:t>
              </a:r>
              <a:endParaRPr kumimoji="0" lang="en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sp>
        <p:nvSpPr>
          <p:cNvPr id="23" name="Oval 22">
            <a:extLst>
              <a:ext uri="{FF2B5EF4-FFF2-40B4-BE49-F238E27FC236}">
                <a16:creationId xmlns:a16="http://schemas.microsoft.com/office/drawing/2014/main" id="{06A091A2-2E9F-4D8E-DE98-C782690D2F3D}"/>
              </a:ext>
            </a:extLst>
          </p:cNvPr>
          <p:cNvSpPr/>
          <p:nvPr/>
        </p:nvSpPr>
        <p:spPr bwMode="auto">
          <a:xfrm>
            <a:off x="4196421" y="5221122"/>
            <a:ext cx="2130509" cy="415179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77C00E32-C1DA-474C-E065-E4C0DB0DD32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8938" y="1083836"/>
            <a:ext cx="2136426" cy="4552465"/>
          </a:xfrm>
          <a:prstGeom prst="rect">
            <a:avLst/>
          </a:prstGeom>
        </p:spPr>
      </p:pic>
      <p:grpSp>
        <p:nvGrpSpPr>
          <p:cNvPr id="17" name="Group 10">
            <a:extLst>
              <a:ext uri="{FF2B5EF4-FFF2-40B4-BE49-F238E27FC236}">
                <a16:creationId xmlns:a16="http://schemas.microsoft.com/office/drawing/2014/main" id="{97E1A99F-F0CC-6F0E-F380-0C7BE70DB482}"/>
              </a:ext>
            </a:extLst>
          </p:cNvPr>
          <p:cNvGrpSpPr/>
          <p:nvPr/>
        </p:nvGrpSpPr>
        <p:grpSpPr>
          <a:xfrm>
            <a:off x="2208927" y="2655409"/>
            <a:ext cx="2260788" cy="4552465"/>
            <a:chOff x="0" y="0"/>
            <a:chExt cx="3929993" cy="7694996"/>
          </a:xfrm>
        </p:grpSpPr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AA1D2B2C-B101-87E8-D25E-A4A1E51ACFB3}"/>
                </a:ext>
              </a:extLst>
            </p:cNvPr>
            <p:cNvSpPr/>
            <p:nvPr/>
          </p:nvSpPr>
          <p:spPr>
            <a:xfrm>
              <a:off x="0" y="0"/>
              <a:ext cx="3929993" cy="7694996"/>
            </a:xfrm>
            <a:custGeom>
              <a:avLst/>
              <a:gdLst/>
              <a:ahLst/>
              <a:cxnLst/>
              <a:rect l="l" t="t" r="r" b="b"/>
              <a:pathLst>
                <a:path w="3929993" h="7694996">
                  <a:moveTo>
                    <a:pt x="0" y="0"/>
                  </a:moveTo>
                  <a:lnTo>
                    <a:pt x="3929993" y="0"/>
                  </a:lnTo>
                  <a:lnTo>
                    <a:pt x="3929993" y="7694996"/>
                  </a:lnTo>
                  <a:lnTo>
                    <a:pt x="0" y="7694996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7"/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21" name="Group 10">
            <a:extLst>
              <a:ext uri="{FF2B5EF4-FFF2-40B4-BE49-F238E27FC236}">
                <a16:creationId xmlns:a16="http://schemas.microsoft.com/office/drawing/2014/main" id="{BC19D917-EFBA-5DD6-34FB-FFFCBE3412E7}"/>
              </a:ext>
            </a:extLst>
          </p:cNvPr>
          <p:cNvGrpSpPr/>
          <p:nvPr/>
        </p:nvGrpSpPr>
        <p:grpSpPr>
          <a:xfrm>
            <a:off x="4146995" y="4687794"/>
            <a:ext cx="2344725" cy="4552465"/>
            <a:chOff x="0" y="0"/>
            <a:chExt cx="3929993" cy="7694996"/>
          </a:xfrm>
        </p:grpSpPr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AF0C0213-2AB2-1808-3A38-FC6E8D7C4CA5}"/>
                </a:ext>
              </a:extLst>
            </p:cNvPr>
            <p:cNvSpPr/>
            <p:nvPr/>
          </p:nvSpPr>
          <p:spPr>
            <a:xfrm>
              <a:off x="0" y="0"/>
              <a:ext cx="3929993" cy="7694996"/>
            </a:xfrm>
            <a:custGeom>
              <a:avLst/>
              <a:gdLst/>
              <a:ahLst/>
              <a:cxnLst/>
              <a:rect l="l" t="t" r="r" b="b"/>
              <a:pathLst>
                <a:path w="3929993" h="7694996">
                  <a:moveTo>
                    <a:pt x="0" y="0"/>
                  </a:moveTo>
                  <a:lnTo>
                    <a:pt x="3929993" y="0"/>
                  </a:lnTo>
                  <a:lnTo>
                    <a:pt x="3929993" y="7694996"/>
                  </a:lnTo>
                  <a:lnTo>
                    <a:pt x="0" y="7694996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7"/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19" name="Oval 18">
            <a:extLst>
              <a:ext uri="{FF2B5EF4-FFF2-40B4-BE49-F238E27FC236}">
                <a16:creationId xmlns:a16="http://schemas.microsoft.com/office/drawing/2014/main" id="{368364FA-38ED-3BB3-4E54-3E3231BD9AFA}"/>
              </a:ext>
            </a:extLst>
          </p:cNvPr>
          <p:cNvSpPr/>
          <p:nvPr/>
        </p:nvSpPr>
        <p:spPr bwMode="auto">
          <a:xfrm>
            <a:off x="206292" y="4047344"/>
            <a:ext cx="949220" cy="284814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32FAAA17-2695-0828-0612-A1E54FC51947}"/>
              </a:ext>
            </a:extLst>
          </p:cNvPr>
          <p:cNvSpPr/>
          <p:nvPr/>
        </p:nvSpPr>
        <p:spPr bwMode="auto">
          <a:xfrm>
            <a:off x="5504695" y="5286304"/>
            <a:ext cx="949220" cy="284814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803149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880F51-A6A5-7244-575D-BF3175E32711}"/>
              </a:ext>
            </a:extLst>
          </p:cNvPr>
          <p:cNvSpPr/>
          <p:nvPr/>
        </p:nvSpPr>
        <p:spPr bwMode="auto">
          <a:xfrm>
            <a:off x="8597" y="3851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7082759-064D-BD97-C9C7-6B426C7D524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515177" y="186323"/>
            <a:ext cx="1073746" cy="55763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7CBCF91-43CB-9564-013A-0C466785DA7F}"/>
              </a:ext>
            </a:extLst>
          </p:cNvPr>
          <p:cNvSpPr txBox="1"/>
          <p:nvPr/>
        </p:nvSpPr>
        <p:spPr>
          <a:xfrm>
            <a:off x="2057400" y="4253952"/>
            <a:ext cx="2743200" cy="45720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842F280-0DB2-DAA1-F5FF-865DD98FAB2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90" t="15643" r="8290" b="63387"/>
          <a:stretch/>
        </p:blipFill>
        <p:spPr>
          <a:xfrm>
            <a:off x="0" y="288969"/>
            <a:ext cx="3327400" cy="557636"/>
          </a:xfrm>
          <a:custGeom>
            <a:avLst/>
            <a:gdLst>
              <a:gd name="connsiteX0" fmla="*/ 0 w 3327400"/>
              <a:gd name="connsiteY0" fmla="*/ 0 h 557636"/>
              <a:gd name="connsiteX1" fmla="*/ 3234459 w 3327400"/>
              <a:gd name="connsiteY1" fmla="*/ 0 h 557636"/>
              <a:gd name="connsiteX2" fmla="*/ 3327400 w 3327400"/>
              <a:gd name="connsiteY2" fmla="*/ 92941 h 557636"/>
              <a:gd name="connsiteX3" fmla="*/ 3327400 w 3327400"/>
              <a:gd name="connsiteY3" fmla="*/ 464695 h 557636"/>
              <a:gd name="connsiteX4" fmla="*/ 3234459 w 3327400"/>
              <a:gd name="connsiteY4" fmla="*/ 557636 h 557636"/>
              <a:gd name="connsiteX5" fmla="*/ 0 w 3327400"/>
              <a:gd name="connsiteY5" fmla="*/ 557636 h 557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27400" h="557636">
                <a:moveTo>
                  <a:pt x="0" y="0"/>
                </a:moveTo>
                <a:lnTo>
                  <a:pt x="3234459" y="0"/>
                </a:lnTo>
                <a:cubicBezTo>
                  <a:pt x="3285789" y="0"/>
                  <a:pt x="3327400" y="41611"/>
                  <a:pt x="3327400" y="92941"/>
                </a:cubicBezTo>
                <a:lnTo>
                  <a:pt x="3327400" y="464695"/>
                </a:lnTo>
                <a:cubicBezTo>
                  <a:pt x="3327400" y="516025"/>
                  <a:pt x="3285789" y="557636"/>
                  <a:pt x="3234459" y="557636"/>
                </a:cubicBezTo>
                <a:lnTo>
                  <a:pt x="0" y="557636"/>
                </a:lnTo>
                <a:close/>
              </a:path>
            </a:pathLst>
          </a:custGeom>
        </p:spPr>
      </p:pic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DCFF4D36-A2E6-E170-28A0-4F4B21CDB85C}"/>
              </a:ext>
            </a:extLst>
          </p:cNvPr>
          <p:cNvSpPr/>
          <p:nvPr/>
        </p:nvSpPr>
        <p:spPr bwMode="auto">
          <a:xfrm>
            <a:off x="-94268" y="280050"/>
            <a:ext cx="3462013" cy="557636"/>
          </a:xfrm>
          <a:prstGeom prst="roundRect">
            <a:avLst/>
          </a:prstGeom>
          <a:solidFill>
            <a:schemeClr val="accent3"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algn="l">
              <a:defRPr/>
            </a:pPr>
            <a:r>
              <a:rPr lang="uk-UA" sz="2000" b="1" i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  Зв’язатися з підтримкою</a:t>
            </a:r>
            <a:endParaRPr kumimoji="0" lang="en-US" sz="200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ira Sans" panose="020B05030500000200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77AA23-6DB1-74BE-DBCB-48B5C2DC761B}"/>
              </a:ext>
            </a:extLst>
          </p:cNvPr>
          <p:cNvSpPr txBox="1"/>
          <p:nvPr/>
        </p:nvSpPr>
        <p:spPr>
          <a:xfrm>
            <a:off x="381771" y="3912459"/>
            <a:ext cx="2782189" cy="1302007"/>
          </a:xfrm>
          <a:prstGeom prst="roundRect">
            <a:avLst/>
          </a:prstGeom>
          <a:solidFill>
            <a:schemeClr val="accent1">
              <a:lumMod val="20000"/>
              <a:lumOff val="80000"/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2pPr lvl="1" algn="l">
              <a:defRPr sz="2000" b="1" i="1">
                <a:solidFill>
                  <a:schemeClr val="tx1"/>
                </a:solidFill>
                <a:latin typeface="Fira Sans" panose="020B0503050000020004" pitchFamily="34" charset="0"/>
              </a:defRPr>
            </a:lvl2pPr>
          </a:lstStyle>
          <a:p>
            <a:r>
              <a:rPr lang="ru-RU" dirty="0">
                <a:latin typeface="Fira Sans" panose="020B0503050000020004" pitchFamily="34" charset="0"/>
              </a:rPr>
              <a:t>Натисніть на </a:t>
            </a:r>
            <a:r>
              <a:rPr lang="ru-RU" b="1" dirty="0">
                <a:latin typeface="Fira Sans" panose="020B0503050000020004" pitchFamily="34" charset="0"/>
              </a:rPr>
              <a:t>іконки чату </a:t>
            </a:r>
            <a:r>
              <a:rPr lang="ru-RU" dirty="0">
                <a:latin typeface="Fira Sans" panose="020B0503050000020004" pitchFamily="34" charset="0"/>
              </a:rPr>
              <a:t>або </a:t>
            </a:r>
            <a:r>
              <a:rPr lang="ru-RU" b="1" dirty="0">
                <a:latin typeface="Fira Sans" panose="020B0503050000020004" pitchFamily="34" charset="0"/>
              </a:rPr>
              <a:t>дзвінка</a:t>
            </a:r>
            <a:r>
              <a:rPr lang="ru-RU" dirty="0">
                <a:latin typeface="Fira Sans" panose="020B0503050000020004" pitchFamily="34" charset="0"/>
              </a:rPr>
              <a:t>, щоб написати повідомлення або зателефонувати в команду підтримки Help at Home, якщо у вас є питання чи проблема!</a:t>
            </a:r>
            <a:endParaRPr lang="en-US" b="1" dirty="0">
              <a:latin typeface="Fira Sans" panose="020B05030500000200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6CEE454F-7609-1498-03ED-49A9CAAFBC3B}"/>
              </a:ext>
            </a:extLst>
          </p:cNvPr>
          <p:cNvSpPr txBox="1"/>
          <p:nvPr/>
        </p:nvSpPr>
        <p:spPr>
          <a:xfrm>
            <a:off x="3694040" y="3903475"/>
            <a:ext cx="2718344" cy="1310992"/>
          </a:xfrm>
          <a:prstGeom prst="roundRect">
            <a:avLst/>
          </a:prstGeom>
          <a:solidFill>
            <a:schemeClr val="accent1">
              <a:lumMod val="20000"/>
              <a:lumOff val="80000"/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2pPr lvl="1" algn="l">
              <a:defRPr sz="2000" b="1" i="1">
                <a:solidFill>
                  <a:schemeClr val="tx1"/>
                </a:solidFill>
                <a:latin typeface="Fira Sans" panose="020B0503050000020004" pitchFamily="34" charset="0"/>
              </a:defRPr>
            </a:lvl2pPr>
          </a:lstStyle>
          <a:p>
            <a:r>
              <a:rPr lang="ru-RU" dirty="0">
                <a:latin typeface="Fira Sans" panose="020B0503050000020004" pitchFamily="34" charset="0"/>
              </a:rPr>
              <a:t>Натисніть на </a:t>
            </a:r>
            <a:r>
              <a:rPr lang="ru-RU" b="1" dirty="0">
                <a:latin typeface="Fira Sans" panose="020B0503050000020004" pitchFamily="34" charset="0"/>
              </a:rPr>
              <a:t>Центр допомоги</a:t>
            </a:r>
            <a:r>
              <a:rPr lang="ru-RU" dirty="0">
                <a:latin typeface="Fira Sans" panose="020B0503050000020004" pitchFamily="34" charset="0"/>
              </a:rPr>
              <a:t>, щоб переглянути часто задавані питання        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9BB866CE-F305-6673-8B3D-4FB5489654C1}"/>
              </a:ext>
            </a:extLst>
          </p:cNvPr>
          <p:cNvSpPr txBox="1"/>
          <p:nvPr/>
        </p:nvSpPr>
        <p:spPr>
          <a:xfrm>
            <a:off x="3697945" y="7975703"/>
            <a:ext cx="2686595" cy="1535942"/>
          </a:xfrm>
          <a:prstGeom prst="roundRect">
            <a:avLst/>
          </a:prstGeom>
          <a:solidFill>
            <a:schemeClr val="accent1">
              <a:lumMod val="20000"/>
              <a:lumOff val="80000"/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2pPr lvl="1" algn="l">
              <a:defRPr sz="2000" b="1" i="1">
                <a:solidFill>
                  <a:schemeClr val="tx1"/>
                </a:solidFill>
                <a:latin typeface="Fira Sans" panose="020B0503050000020004" pitchFamily="34" charset="0"/>
              </a:defRPr>
            </a:lvl2pPr>
          </a:lstStyle>
          <a:p>
            <a:r>
              <a:rPr lang="ru-RU" dirty="0">
                <a:latin typeface="Fira Sans"/>
                <a:cs typeface="Arial"/>
              </a:rPr>
              <a:t>Якщо ваше питання залишилось без відповіді, натисніть </a:t>
            </a:r>
            <a:r>
              <a:rPr lang="ru-RU" b="1" dirty="0">
                <a:latin typeface="Fira Sans"/>
                <a:cs typeface="Arial"/>
              </a:rPr>
              <a:t>Додаткова підтримка</a:t>
            </a:r>
            <a:r>
              <a:rPr lang="ru-RU" dirty="0">
                <a:latin typeface="Fira Sans"/>
                <a:cs typeface="Arial"/>
              </a:rPr>
              <a:t>, щоб перейти в Інформаційний центр Help at Home для отримання ресурсів за вимогою</a:t>
            </a:r>
            <a:endParaRPr lang="en-US" dirty="0">
              <a:latin typeface="Fira Sans"/>
              <a:cs typeface="Arial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21D42EC-8150-F1F8-B8A0-4CCE6054370E}"/>
              </a:ext>
            </a:extLst>
          </p:cNvPr>
          <p:cNvSpPr txBox="1"/>
          <p:nvPr/>
        </p:nvSpPr>
        <p:spPr>
          <a:xfrm>
            <a:off x="417812" y="7975703"/>
            <a:ext cx="2686594" cy="1535942"/>
          </a:xfrm>
          <a:prstGeom prst="roundRect">
            <a:avLst/>
          </a:prstGeom>
          <a:solidFill>
            <a:schemeClr val="accent1">
              <a:lumMod val="20000"/>
              <a:lumOff val="80000"/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2pPr lvl="1" algn="l">
              <a:defRPr sz="2000" b="1" i="1">
                <a:solidFill>
                  <a:schemeClr val="tx1"/>
                </a:solidFill>
                <a:latin typeface="Fira Sans" panose="020B0503050000020004" pitchFamily="34" charset="0"/>
              </a:defRPr>
            </a:lvl2pPr>
          </a:lstStyle>
          <a:p>
            <a:r>
              <a:rPr lang="ru-RU" sz="1400" dirty="0">
                <a:latin typeface="Fira Sans"/>
                <a:cs typeface="Arial"/>
              </a:rPr>
              <a:t>Функція </a:t>
            </a:r>
            <a:r>
              <a:rPr lang="ru-RU" sz="1400" b="1" dirty="0">
                <a:latin typeface="Fira Sans"/>
                <a:cs typeface="Arial"/>
              </a:rPr>
              <a:t>Зателефонувати</a:t>
            </a:r>
            <a:r>
              <a:rPr lang="ru-RU" sz="1400" dirty="0">
                <a:latin typeface="Fira Sans"/>
                <a:cs typeface="Arial"/>
              </a:rPr>
              <a:t> доступна </a:t>
            </a:r>
            <a:r>
              <a:rPr lang="ru-RU" sz="1400" b="1" dirty="0">
                <a:latin typeface="Fira Sans"/>
                <a:cs typeface="Arial"/>
              </a:rPr>
              <a:t>цілодобово</a:t>
            </a:r>
            <a:r>
              <a:rPr lang="ru-RU" sz="1400" dirty="0">
                <a:latin typeface="Fira Sans"/>
                <a:cs typeface="Arial"/>
              </a:rPr>
              <a:t>, а функція </a:t>
            </a:r>
            <a:r>
              <a:rPr lang="ru-RU" sz="1400" b="1" dirty="0">
                <a:latin typeface="Fira Sans"/>
                <a:cs typeface="Arial"/>
              </a:rPr>
              <a:t>Чат</a:t>
            </a:r>
            <a:r>
              <a:rPr lang="ru-RU" sz="1400" dirty="0">
                <a:latin typeface="Fira Sans"/>
                <a:cs typeface="Arial"/>
              </a:rPr>
              <a:t> доступна </a:t>
            </a:r>
          </a:p>
          <a:p>
            <a:r>
              <a:rPr lang="ru-RU" b="1" dirty="0">
                <a:latin typeface="Fira Sans"/>
                <a:cs typeface="Arial"/>
              </a:rPr>
              <a:t>П</a:t>
            </a:r>
            <a:r>
              <a:rPr lang="ru-RU" sz="1400" b="1" dirty="0">
                <a:latin typeface="Fira Sans"/>
                <a:cs typeface="Arial"/>
              </a:rPr>
              <a:t>н - Пт с 8:00 до 18:00</a:t>
            </a:r>
            <a:r>
              <a:rPr lang="ru-RU" sz="1400" dirty="0">
                <a:latin typeface="Fira Sans"/>
                <a:cs typeface="Arial"/>
              </a:rPr>
              <a:t>!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53525DC-70FD-A398-AE62-A9592112F13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88160" y="5251812"/>
            <a:ext cx="1324224" cy="2668575"/>
          </a:xfrm>
          <a:prstGeom prst="roundRect">
            <a:avLst/>
          </a:prstGeom>
        </p:spPr>
      </p:pic>
      <p:pic>
        <p:nvPicPr>
          <p:cNvPr id="14" name="Picture 4">
            <a:extLst>
              <a:ext uri="{FF2B5EF4-FFF2-40B4-BE49-F238E27FC236}">
                <a16:creationId xmlns:a16="http://schemas.microsoft.com/office/drawing/2014/main" id="{11323378-B845-96F5-6C59-4F5C2B52A2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2379" y="5312822"/>
            <a:ext cx="1163836" cy="2541922"/>
          </a:xfrm>
          <a:prstGeom prst="round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7EE580E7-9307-CDC1-6AC1-4CC1519D725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1772" y="5260797"/>
            <a:ext cx="1324224" cy="2668575"/>
          </a:xfrm>
          <a:prstGeom prst="roundRect">
            <a:avLst/>
          </a:prstGeom>
        </p:spPr>
      </p:pic>
      <p:pic>
        <p:nvPicPr>
          <p:cNvPr id="23" name="Picture 6" descr="A screenshot of a chat&#10;&#10;Description automatically generated">
            <a:extLst>
              <a:ext uri="{FF2B5EF4-FFF2-40B4-BE49-F238E27FC236}">
                <a16:creationId xmlns:a16="http://schemas.microsoft.com/office/drawing/2014/main" id="{DF9D96F3-D1D6-23B9-EBD8-FC26BCF9F985}"/>
              </a:ext>
            </a:extLst>
          </p:cNvPr>
          <p:cNvPicPr>
            <a:picLocks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168" y="5314583"/>
            <a:ext cx="1188876" cy="2539544"/>
          </a:xfrm>
          <a:prstGeom prst="roundRect">
            <a:avLst/>
          </a:prstGeom>
          <a:noFill/>
          <a:ln w="19050">
            <a:solidFill>
              <a:srgbClr val="00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0862D9F-8572-8E58-ADA4-D223FCE2251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755406" y="913560"/>
            <a:ext cx="1344211" cy="2943583"/>
          </a:xfrm>
          <a:prstGeom prst="rect">
            <a:avLst/>
          </a:prstGeom>
        </p:spPr>
      </p:pic>
      <p:sp>
        <p:nvSpPr>
          <p:cNvPr id="29" name="Oval 28">
            <a:extLst>
              <a:ext uri="{FF2B5EF4-FFF2-40B4-BE49-F238E27FC236}">
                <a16:creationId xmlns:a16="http://schemas.microsoft.com/office/drawing/2014/main" id="{19518C8C-B858-BD22-80D6-9E1699035C64}"/>
              </a:ext>
            </a:extLst>
          </p:cNvPr>
          <p:cNvSpPr/>
          <p:nvPr/>
        </p:nvSpPr>
        <p:spPr bwMode="auto">
          <a:xfrm flipH="1">
            <a:off x="2755406" y="3144684"/>
            <a:ext cx="1344211" cy="642744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en-US">
              <a:latin typeface="Arial" pitchFamily="34" charset="0"/>
              <a:cs typeface="Arial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DEFCFE13-25F9-86BE-6548-5BAC9BE9FB9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831438" y="5260797"/>
            <a:ext cx="1337721" cy="2659590"/>
          </a:xfrm>
          <a:prstGeom prst="rect">
            <a:avLst/>
          </a:prstGeom>
        </p:spPr>
      </p:pic>
      <p:grpSp>
        <p:nvGrpSpPr>
          <p:cNvPr id="3" name="Group 4">
            <a:extLst>
              <a:ext uri="{FF2B5EF4-FFF2-40B4-BE49-F238E27FC236}">
                <a16:creationId xmlns:a16="http://schemas.microsoft.com/office/drawing/2014/main" id="{7A940F41-A1EF-FD6D-9937-7CA394AB689E}"/>
              </a:ext>
            </a:extLst>
          </p:cNvPr>
          <p:cNvGrpSpPr/>
          <p:nvPr/>
        </p:nvGrpSpPr>
        <p:grpSpPr>
          <a:xfrm>
            <a:off x="3688843" y="5269782"/>
            <a:ext cx="1299562" cy="2659590"/>
            <a:chOff x="0" y="0"/>
            <a:chExt cx="3201348" cy="6597703"/>
          </a:xfrm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E2F28185-A6B6-442F-296A-15BD652A91C3}"/>
                </a:ext>
              </a:extLst>
            </p:cNvPr>
            <p:cNvSpPr/>
            <p:nvPr/>
          </p:nvSpPr>
          <p:spPr>
            <a:xfrm>
              <a:off x="0" y="0"/>
              <a:ext cx="3201348" cy="6597703"/>
            </a:xfrm>
            <a:custGeom>
              <a:avLst/>
              <a:gdLst/>
              <a:ahLst/>
              <a:cxnLst/>
              <a:rect l="l" t="t" r="r" b="b"/>
              <a:pathLst>
                <a:path w="3201348" h="6597703">
                  <a:moveTo>
                    <a:pt x="0" y="0"/>
                  </a:moveTo>
                  <a:lnTo>
                    <a:pt x="3201348" y="0"/>
                  </a:lnTo>
                  <a:lnTo>
                    <a:pt x="3201348" y="6597703"/>
                  </a:lnTo>
                  <a:lnTo>
                    <a:pt x="0" y="659770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2"/>
              <a:stretch>
                <a:fillRect/>
              </a:stretch>
            </a:blipFill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41" name="Oval 40">
            <a:extLst>
              <a:ext uri="{FF2B5EF4-FFF2-40B4-BE49-F238E27FC236}">
                <a16:creationId xmlns:a16="http://schemas.microsoft.com/office/drawing/2014/main" id="{6543FA7B-1D7E-0624-0994-8E293EF8DF0B}"/>
              </a:ext>
            </a:extLst>
          </p:cNvPr>
          <p:cNvSpPr/>
          <p:nvPr/>
        </p:nvSpPr>
        <p:spPr bwMode="auto">
          <a:xfrm flipH="1">
            <a:off x="4440471" y="7472389"/>
            <a:ext cx="360129" cy="370654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en-US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3928178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880F51-A6A5-7244-575D-BF3175E32711}"/>
              </a:ext>
            </a:extLst>
          </p:cNvPr>
          <p:cNvSpPr/>
          <p:nvPr/>
        </p:nvSpPr>
        <p:spPr bwMode="auto">
          <a:xfrm>
            <a:off x="0" y="0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C7949DD-F478-71F3-1ED3-1D97CEC939A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85" t="7142" r="19385" b="35199"/>
          <a:stretch/>
        </p:blipFill>
        <p:spPr>
          <a:xfrm>
            <a:off x="0" y="5295900"/>
            <a:ext cx="6858000" cy="4305300"/>
          </a:xfrm>
          <a:custGeom>
            <a:avLst/>
            <a:gdLst>
              <a:gd name="connsiteX0" fmla="*/ 0 w 6858000"/>
              <a:gd name="connsiteY0" fmla="*/ 0 h 4305300"/>
              <a:gd name="connsiteX1" fmla="*/ 6858000 w 6858000"/>
              <a:gd name="connsiteY1" fmla="*/ 0 h 4305300"/>
              <a:gd name="connsiteX2" fmla="*/ 6858000 w 6858000"/>
              <a:gd name="connsiteY2" fmla="*/ 4305300 h 4305300"/>
              <a:gd name="connsiteX3" fmla="*/ 0 w 6858000"/>
              <a:gd name="connsiteY3" fmla="*/ 4305300 h 430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58000" h="4305300">
                <a:moveTo>
                  <a:pt x="0" y="0"/>
                </a:moveTo>
                <a:lnTo>
                  <a:pt x="6858000" y="0"/>
                </a:lnTo>
                <a:lnTo>
                  <a:pt x="6858000" y="4305300"/>
                </a:lnTo>
                <a:lnTo>
                  <a:pt x="0" y="4305300"/>
                </a:lnTo>
                <a:close/>
              </a:path>
            </a:pathLst>
          </a:custGeom>
        </p:spPr>
      </p:pic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94F6336B-84B7-91F3-38B3-5B79A44B43D5}"/>
              </a:ext>
            </a:extLst>
          </p:cNvPr>
          <p:cNvSpPr/>
          <p:nvPr/>
        </p:nvSpPr>
        <p:spPr bwMode="auto">
          <a:xfrm>
            <a:off x="0" y="5295900"/>
            <a:ext cx="6858000" cy="4305300"/>
          </a:xfrm>
          <a:custGeom>
            <a:avLst/>
            <a:gdLst>
              <a:gd name="connsiteX0" fmla="*/ 0 w 6858000"/>
              <a:gd name="connsiteY0" fmla="*/ 0 h 4305300"/>
              <a:gd name="connsiteX1" fmla="*/ 6858000 w 6858000"/>
              <a:gd name="connsiteY1" fmla="*/ 0 h 4305300"/>
              <a:gd name="connsiteX2" fmla="*/ 6858000 w 6858000"/>
              <a:gd name="connsiteY2" fmla="*/ 4305300 h 4305300"/>
              <a:gd name="connsiteX3" fmla="*/ 0 w 6858000"/>
              <a:gd name="connsiteY3" fmla="*/ 4305300 h 430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58000" h="4305300">
                <a:moveTo>
                  <a:pt x="0" y="0"/>
                </a:moveTo>
                <a:lnTo>
                  <a:pt x="6858000" y="0"/>
                </a:lnTo>
                <a:lnTo>
                  <a:pt x="6858000" y="4305300"/>
                </a:lnTo>
                <a:lnTo>
                  <a:pt x="0" y="4305300"/>
                </a:lnTo>
                <a:close/>
              </a:path>
            </a:pathLst>
          </a:custGeom>
          <a:solidFill>
            <a:schemeClr val="accent3"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7082759-064D-BD97-C9C7-6B426C7D524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484697" y="297731"/>
            <a:ext cx="1073746" cy="557636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10A308C4-5A9A-C15B-B5EB-C2F96FD7BAF9}"/>
              </a:ext>
            </a:extLst>
          </p:cNvPr>
          <p:cNvSpPr txBox="1"/>
          <p:nvPr/>
        </p:nvSpPr>
        <p:spPr>
          <a:xfrm>
            <a:off x="533789" y="6890707"/>
            <a:ext cx="5587221" cy="107721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uk-UA" sz="3200" dirty="0">
                <a:solidFill>
                  <a:schemeClr val="bg1"/>
                </a:solidFill>
                <a:latin typeface="Fira Sans" panose="020B0503050000020004" pitchFamily="34" charset="0"/>
                <a:cs typeface="Calibri Light"/>
              </a:rPr>
              <a:t>Що використовуєте </a:t>
            </a:r>
            <a:r>
              <a:rPr lang="en-US" sz="3200" dirty="0">
                <a:solidFill>
                  <a:schemeClr val="bg1"/>
                </a:solidFill>
                <a:latin typeface="Fira Sans" panose="020B0503050000020004" pitchFamily="34" charset="0"/>
                <a:cs typeface="Calibri Light"/>
              </a:rPr>
              <a:t>Caregiver Connect!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36004D2-7C2D-7983-3EA6-553F0C433220}"/>
              </a:ext>
            </a:extLst>
          </p:cNvPr>
          <p:cNvSpPr txBox="1"/>
          <p:nvPr/>
        </p:nvSpPr>
        <p:spPr>
          <a:xfrm>
            <a:off x="1775811" y="6128448"/>
            <a:ext cx="310317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4400" b="1" dirty="0">
                <a:solidFill>
                  <a:schemeClr val="bg1"/>
                </a:solidFill>
                <a:latin typeface="Fira Sans" panose="020B0503050000020004" pitchFamily="34" charset="0"/>
              </a:rPr>
              <a:t>Дякуємо</a:t>
            </a:r>
            <a:endParaRPr lang="en-US" sz="4400" b="1" dirty="0">
              <a:solidFill>
                <a:schemeClr val="bg1"/>
              </a:solidFill>
              <a:latin typeface="Fira Sans" panose="020B0503050000020004" pitchFamily="34" charset="0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1F55A5B6-EFBE-EE36-9A95-501D20053C48}"/>
              </a:ext>
            </a:extLst>
          </p:cNvPr>
          <p:cNvSpPr/>
          <p:nvPr/>
        </p:nvSpPr>
        <p:spPr bwMode="auto">
          <a:xfrm>
            <a:off x="0" y="461621"/>
            <a:ext cx="3081901" cy="782700"/>
          </a:xfrm>
          <a:prstGeom prst="roundRect">
            <a:avLst/>
          </a:prstGeom>
          <a:solidFill>
            <a:schemeClr val="accent1">
              <a:lumMod val="20000"/>
              <a:lumOff val="80000"/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lvl="1" algn="l"/>
            <a:r>
              <a:rPr lang="uk-UA" sz="2000" b="1" i="1" dirty="0">
                <a:solidFill>
                  <a:schemeClr val="tx1"/>
                </a:solidFill>
                <a:latin typeface="Fira Sans" panose="020B0503050000020004" pitchFamily="34" charset="0"/>
              </a:rPr>
              <a:t>Ключові ресурси!</a:t>
            </a:r>
            <a:endParaRPr lang="en-US" sz="2000" b="1" i="1" dirty="0">
              <a:solidFill>
                <a:schemeClr val="tx1"/>
              </a:solidFill>
              <a:latin typeface="Fira Sans" panose="020B05030500000200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0D06840-69CF-E9F8-FB1A-A080CEC49A57}"/>
              </a:ext>
            </a:extLst>
          </p:cNvPr>
          <p:cNvSpPr txBox="1"/>
          <p:nvPr/>
        </p:nvSpPr>
        <p:spPr>
          <a:xfrm>
            <a:off x="468049" y="1633275"/>
            <a:ext cx="5921902" cy="233910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uk-UA" sz="1600" dirty="0">
                <a:solidFill>
                  <a:schemeClr val="tx1"/>
                </a:solidFill>
                <a:latin typeface="Fira Sans"/>
                <a:cs typeface="Arial"/>
              </a:rPr>
              <a:t>Завантажте </a:t>
            </a:r>
            <a:r>
              <a:rPr lang="en-US" sz="1600" dirty="0">
                <a:solidFill>
                  <a:schemeClr val="tx1"/>
                </a:solidFill>
                <a:latin typeface="Fira Sans"/>
                <a:cs typeface="Arial"/>
              </a:rPr>
              <a:t>Help at Home Caregiver Connect:</a:t>
            </a:r>
            <a:endParaRPr lang="ru-RU" sz="1600" dirty="0">
              <a:solidFill>
                <a:schemeClr val="tx1"/>
              </a:solidFill>
              <a:latin typeface="Fira Sans"/>
              <a:cs typeface="Arial"/>
            </a:endParaRPr>
          </a:p>
          <a:p>
            <a:pPr marL="285750" indent="-28575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uk-UA" sz="1600" u="sng" dirty="0">
                <a:solidFill>
                  <a:schemeClr val="tx1"/>
                </a:solidFill>
                <a:latin typeface="Fira Sans"/>
                <a:cs typeface="Arial"/>
                <a:hlinkClick r:id="rId6"/>
              </a:rPr>
              <a:t>Для пристроїв </a:t>
            </a:r>
            <a:r>
              <a:rPr lang="en-US" sz="1600" u="sng" dirty="0">
                <a:solidFill>
                  <a:schemeClr val="tx1"/>
                </a:solidFill>
                <a:latin typeface="Fira Sans"/>
                <a:cs typeface="Arial"/>
                <a:hlinkClick r:id="rId6"/>
              </a:rPr>
              <a:t>Apple</a:t>
            </a:r>
            <a:endParaRPr lang="ru-RU" sz="1600" u="sng" dirty="0">
              <a:solidFill>
                <a:schemeClr val="tx1"/>
              </a:solidFill>
              <a:latin typeface="Fira Sans"/>
              <a:cs typeface="Arial"/>
            </a:endParaRPr>
          </a:p>
          <a:p>
            <a:pPr marL="285750" indent="-28575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uk-UA" sz="1600" u="sng" dirty="0">
                <a:solidFill>
                  <a:schemeClr val="tx1"/>
                </a:solidFill>
                <a:latin typeface="Fira Sans"/>
                <a:cs typeface="Arial"/>
                <a:hlinkClick r:id="rId7"/>
              </a:rPr>
              <a:t>Для пристроїв </a:t>
            </a:r>
            <a:r>
              <a:rPr lang="en-US" sz="1600" u="sng" dirty="0">
                <a:solidFill>
                  <a:schemeClr val="tx1"/>
                </a:solidFill>
                <a:latin typeface="Fira Sans"/>
                <a:cs typeface="Arial"/>
                <a:hlinkClick r:id="rId7"/>
              </a:rPr>
              <a:t>Android</a:t>
            </a:r>
            <a:endParaRPr lang="en-US" sz="1600" u="sng" dirty="0">
              <a:solidFill>
                <a:schemeClr val="tx1"/>
              </a:solidFill>
              <a:latin typeface="Fira Sans"/>
              <a:cs typeface="Arial"/>
            </a:endParaRPr>
          </a:p>
          <a:p>
            <a:pPr marL="285750" indent="-28575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600" u="sng" dirty="0">
                <a:solidFill>
                  <a:schemeClr val="tx1"/>
                </a:solidFill>
                <a:latin typeface="Fira Sans"/>
                <a:cs typeface="Arial"/>
                <a:hlinkClick r:id="rId8"/>
              </a:rPr>
              <a:t>Статті підтримки в Інформаційному центрі </a:t>
            </a:r>
            <a:r>
              <a:rPr lang="en-US" sz="1600" u="sng" dirty="0">
                <a:solidFill>
                  <a:schemeClr val="tx1"/>
                </a:solidFill>
                <a:latin typeface="Fira Sans"/>
                <a:cs typeface="Arial"/>
                <a:hlinkClick r:id="rId8"/>
              </a:rPr>
              <a:t>Help at Home</a:t>
            </a:r>
            <a:endParaRPr lang="en-US" sz="1600" u="sng" dirty="0">
              <a:solidFill>
                <a:schemeClr val="tx1"/>
              </a:solidFill>
              <a:latin typeface="Fira Sans"/>
              <a:cs typeface="Arial"/>
            </a:endParaRPr>
          </a:p>
          <a:p>
            <a:pPr marL="285750" indent="-28575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u="sng" dirty="0" err="1">
                <a:solidFill>
                  <a:schemeClr val="tx1"/>
                </a:solidFill>
                <a:latin typeface="Fira Sans"/>
                <a:cs typeface="Arial"/>
                <a:hlinkClick r:id="rId9"/>
              </a:rPr>
              <a:t>Демонстраційні</a:t>
            </a:r>
            <a:r>
              <a:rPr lang="en-US" sz="1600" u="sng" dirty="0">
                <a:solidFill>
                  <a:schemeClr val="tx1"/>
                </a:solidFill>
                <a:latin typeface="Fira Sans"/>
                <a:cs typeface="Arial"/>
                <a:hlinkClick r:id="rId9"/>
              </a:rPr>
              <a:t> </a:t>
            </a:r>
            <a:r>
              <a:rPr lang="en-US" sz="1600" u="sng" dirty="0" err="1">
                <a:solidFill>
                  <a:schemeClr val="tx1"/>
                </a:solidFill>
                <a:latin typeface="Fira Sans"/>
                <a:cs typeface="Arial"/>
                <a:hlinkClick r:id="rId9"/>
              </a:rPr>
              <a:t>відео</a:t>
            </a:r>
            <a:r>
              <a:rPr lang="en-US" sz="1600" u="sng" dirty="0">
                <a:solidFill>
                  <a:schemeClr val="tx1"/>
                </a:solidFill>
                <a:latin typeface="Fira Sans"/>
                <a:cs typeface="Arial"/>
                <a:hlinkClick r:id="rId9"/>
              </a:rPr>
              <a:t> Help at Home Caregiver Connect</a:t>
            </a:r>
            <a:endParaRPr lang="en-US" sz="1600" u="sng" dirty="0">
              <a:solidFill>
                <a:schemeClr val="tx1"/>
              </a:solidFill>
              <a:latin typeface="Fira Sans"/>
              <a:cs typeface="Arial"/>
            </a:endParaRPr>
          </a:p>
          <a:p>
            <a:pPr marL="285750" indent="-285750" algn="l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1"/>
              </a:solidFill>
              <a:latin typeface="Fira Sans" panose="020B0503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73020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880F51-A6A5-7244-575D-BF3175E32711}"/>
              </a:ext>
            </a:extLst>
          </p:cNvPr>
          <p:cNvSpPr/>
          <p:nvPr/>
        </p:nvSpPr>
        <p:spPr bwMode="auto">
          <a:xfrm>
            <a:off x="0" y="0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B31BDDE-0ABD-1F62-4464-F28DD708A7EA}"/>
              </a:ext>
            </a:extLst>
          </p:cNvPr>
          <p:cNvGrpSpPr/>
          <p:nvPr/>
        </p:nvGrpSpPr>
        <p:grpSpPr>
          <a:xfrm>
            <a:off x="0" y="290385"/>
            <a:ext cx="4491475" cy="1866402"/>
            <a:chOff x="-219924" y="1242558"/>
            <a:chExt cx="4491475" cy="186640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0BA14E35-EA04-757C-758B-99AAD7A0B26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92" r="8427" b="39888"/>
            <a:stretch/>
          </p:blipFill>
          <p:spPr>
            <a:xfrm>
              <a:off x="-21249" y="1242558"/>
              <a:ext cx="4292800" cy="1866402"/>
            </a:xfrm>
            <a:custGeom>
              <a:avLst/>
              <a:gdLst>
                <a:gd name="connsiteX0" fmla="*/ 0 w 4292800"/>
                <a:gd name="connsiteY0" fmla="*/ 0 h 1866402"/>
                <a:gd name="connsiteX1" fmla="*/ 3981727 w 4292800"/>
                <a:gd name="connsiteY1" fmla="*/ 0 h 1866402"/>
                <a:gd name="connsiteX2" fmla="*/ 4292800 w 4292800"/>
                <a:gd name="connsiteY2" fmla="*/ 311073 h 1866402"/>
                <a:gd name="connsiteX3" fmla="*/ 4292800 w 4292800"/>
                <a:gd name="connsiteY3" fmla="*/ 1555329 h 1866402"/>
                <a:gd name="connsiteX4" fmla="*/ 3981727 w 4292800"/>
                <a:gd name="connsiteY4" fmla="*/ 1866402 h 1866402"/>
                <a:gd name="connsiteX5" fmla="*/ 0 w 4292800"/>
                <a:gd name="connsiteY5" fmla="*/ 1866402 h 1866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92800" h="1866402">
                  <a:moveTo>
                    <a:pt x="0" y="0"/>
                  </a:moveTo>
                  <a:lnTo>
                    <a:pt x="3981727" y="0"/>
                  </a:lnTo>
                  <a:cubicBezTo>
                    <a:pt x="4153528" y="0"/>
                    <a:pt x="4292800" y="139272"/>
                    <a:pt x="4292800" y="311073"/>
                  </a:cubicBezTo>
                  <a:lnTo>
                    <a:pt x="4292800" y="1555329"/>
                  </a:lnTo>
                  <a:cubicBezTo>
                    <a:pt x="4292800" y="1727130"/>
                    <a:pt x="4153528" y="1866402"/>
                    <a:pt x="3981727" y="1866402"/>
                  </a:cubicBezTo>
                  <a:lnTo>
                    <a:pt x="0" y="1866402"/>
                  </a:lnTo>
                  <a:close/>
                </a:path>
              </a:pathLst>
            </a:custGeom>
          </p:spPr>
        </p:pic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0996E04F-7D1A-CFF4-3AF8-F66C5DC2F7A2}"/>
                </a:ext>
              </a:extLst>
            </p:cNvPr>
            <p:cNvSpPr/>
            <p:nvPr/>
          </p:nvSpPr>
          <p:spPr bwMode="auto">
            <a:xfrm>
              <a:off x="-219924" y="1242558"/>
              <a:ext cx="4491475" cy="1866402"/>
            </a:xfrm>
            <a:prstGeom prst="roundRect">
              <a:avLst/>
            </a:prstGeom>
            <a:solidFill>
              <a:schemeClr val="accent3"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	</a:t>
              </a:r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F5EF939B-8AA2-A99F-6918-C57F811ECE22}"/>
              </a:ext>
            </a:extLst>
          </p:cNvPr>
          <p:cNvSpPr/>
          <p:nvPr/>
        </p:nvSpPr>
        <p:spPr bwMode="auto">
          <a:xfrm>
            <a:off x="3341227" y="2529157"/>
            <a:ext cx="1632744" cy="997660"/>
          </a:xfrm>
          <a:prstGeom prst="rect">
            <a:avLst/>
          </a:prstGeom>
          <a:solidFill>
            <a:schemeClr val="accent3">
              <a:alpha val="70000"/>
            </a:schemeClr>
          </a:solidFill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r>
              <a:rPr lang="uk-UA" sz="1400" b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Пристрої </a:t>
            </a:r>
            <a:r>
              <a:rPr lang="en-US" sz="1400" b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pple:</a:t>
            </a:r>
            <a:endParaRPr lang="ru-RU" sz="1400" b="1" dirty="0">
              <a:solidFill>
                <a:schemeClr val="bg1"/>
              </a:solidFill>
              <a:latin typeface="Fira Sans" panose="020B05030500000200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uk-UA" b="1" u="sng" dirty="0">
                <a:solidFill>
                  <a:srgbClr val="0070C0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  <a:hlinkClick r:id="rId4"/>
              </a:rPr>
              <a:t>Натисніть тут</a:t>
            </a:r>
            <a:endParaRPr lang="uk-UA" b="1" u="sng" dirty="0">
              <a:solidFill>
                <a:srgbClr val="0070C0"/>
              </a:solidFill>
              <a:latin typeface="Fira Sans" panose="020B05030500000200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uk-UA" b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або скануйте </a:t>
            </a:r>
            <a:r>
              <a:rPr lang="en-US" b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QR-</a:t>
            </a:r>
            <a:r>
              <a:rPr lang="uk-UA" b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код нижче</a:t>
            </a:r>
            <a:r>
              <a:rPr lang="en-US" sz="1400" b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!</a:t>
            </a:r>
          </a:p>
        </p:txBody>
      </p:sp>
      <p:pic>
        <p:nvPicPr>
          <p:cNvPr id="55" name="Graphic 54">
            <a:extLst>
              <a:ext uri="{FF2B5EF4-FFF2-40B4-BE49-F238E27FC236}">
                <a16:creationId xmlns:a16="http://schemas.microsoft.com/office/drawing/2014/main" id="{A7DBC419-09F9-A553-9139-E7D48A64144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34009" y="8682623"/>
            <a:ext cx="1073746" cy="557636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3A42DBEE-1E00-8672-F8B7-232DBAB0FDE1}"/>
              </a:ext>
            </a:extLst>
          </p:cNvPr>
          <p:cNvSpPr txBox="1"/>
          <p:nvPr/>
        </p:nvSpPr>
        <p:spPr>
          <a:xfrm>
            <a:off x="-259307" y="517399"/>
            <a:ext cx="431229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uk-UA" sz="3600" b="1" i="1" dirty="0">
                <a:solidFill>
                  <a:schemeClr val="bg1"/>
                </a:solidFill>
                <a:latin typeface="Fira Sans" panose="020B0503050000020004" pitchFamily="34" charset="0"/>
              </a:rPr>
              <a:t>	Давайте 	розпочнемо!</a:t>
            </a:r>
            <a:endParaRPr lang="en-US" sz="3600" b="1" i="1" dirty="0">
              <a:solidFill>
                <a:schemeClr val="bg1"/>
              </a:solidFill>
              <a:latin typeface="Fira Sans" panose="020B0503050000020004" pitchFamily="34" charset="0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E23F1E8B-823E-040C-851A-2F0959E488A3}"/>
              </a:ext>
            </a:extLst>
          </p:cNvPr>
          <p:cNvSpPr/>
          <p:nvPr/>
        </p:nvSpPr>
        <p:spPr bwMode="auto">
          <a:xfrm>
            <a:off x="-184197" y="2342416"/>
            <a:ext cx="3375306" cy="782700"/>
          </a:xfrm>
          <a:prstGeom prst="roundRect">
            <a:avLst/>
          </a:prstGeom>
          <a:solidFill>
            <a:schemeClr val="accent1">
              <a:lumMod val="20000"/>
              <a:lumOff val="80000"/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lvl="1" algn="l"/>
            <a:r>
              <a:rPr lang="uk-UA" sz="2000" b="1" i="1" dirty="0">
                <a:solidFill>
                  <a:schemeClr val="tx1"/>
                </a:solidFill>
                <a:latin typeface="Fira Sans" panose="020B0503050000020004" pitchFamily="34" charset="0"/>
              </a:rPr>
              <a:t>Завантажте додаток</a:t>
            </a:r>
            <a:endParaRPr lang="en-US" sz="2000" b="1" i="1" dirty="0">
              <a:solidFill>
                <a:schemeClr val="tx1"/>
              </a:solidFill>
              <a:latin typeface="Fira Sans" panose="020B0503050000020004" pitchFamily="34" charset="0"/>
            </a:endParaRPr>
          </a:p>
        </p:txBody>
      </p:sp>
      <p:sp>
        <p:nvSpPr>
          <p:cNvPr id="2" name="Flowchart: Connector 1">
            <a:extLst>
              <a:ext uri="{FF2B5EF4-FFF2-40B4-BE49-F238E27FC236}">
                <a16:creationId xmlns:a16="http://schemas.microsoft.com/office/drawing/2014/main" id="{40017353-9244-9854-A798-C5A35831C45B}"/>
              </a:ext>
            </a:extLst>
          </p:cNvPr>
          <p:cNvSpPr/>
          <p:nvPr/>
        </p:nvSpPr>
        <p:spPr bwMode="auto">
          <a:xfrm>
            <a:off x="2925197" y="2163050"/>
            <a:ext cx="457200" cy="457200"/>
          </a:xfrm>
          <a:prstGeom prst="flowChartConnector">
            <a:avLst/>
          </a:prstGeom>
          <a:solidFill>
            <a:schemeClr val="bg1">
              <a:lumMod val="65000"/>
            </a:schemeClr>
          </a:solidFill>
          <a:ln w="571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rPr>
              <a:t>1</a:t>
            </a:r>
            <a:endParaRPr kumimoji="0" lang="en-US" sz="1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Fira Sans" panose="020B0503050000020004" pitchFamily="34" charset="0"/>
              <a:cs typeface="Arial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2DFE8BF-9284-6A96-1CC2-8178D5D13AA5}"/>
              </a:ext>
            </a:extLst>
          </p:cNvPr>
          <p:cNvSpPr txBox="1"/>
          <p:nvPr/>
        </p:nvSpPr>
        <p:spPr>
          <a:xfrm>
            <a:off x="163789" y="6007840"/>
            <a:ext cx="3102216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 algn="l">
              <a:buAutoNum type="arabicPeriod"/>
            </a:pPr>
            <a:r>
              <a:rPr lang="ru-RU" sz="1200" dirty="0">
                <a:solidFill>
                  <a:schemeClr val="tx1"/>
                </a:solidFill>
                <a:latin typeface="Fira Sans" panose="020B0503050000020004" pitchFamily="34" charset="0"/>
              </a:rPr>
              <a:t>Введіть Ваш </a:t>
            </a:r>
            <a:r>
              <a:rPr lang="en-US" sz="1200" b="1" dirty="0">
                <a:solidFill>
                  <a:schemeClr val="tx1"/>
                </a:solidFill>
                <a:latin typeface="Fira Sans" panose="020B0503050000020004" pitchFamily="34" charset="0"/>
              </a:rPr>
              <a:t>email, </a:t>
            </a:r>
            <a:r>
              <a:rPr lang="ru-RU" sz="1200" b="1" dirty="0">
                <a:solidFill>
                  <a:schemeClr val="tx1"/>
                </a:solidFill>
                <a:latin typeface="Fira Sans" panose="020B0503050000020004" pitchFamily="34" charset="0"/>
              </a:rPr>
              <a:t>дату народження </a:t>
            </a:r>
            <a:r>
              <a:rPr lang="ru-RU" sz="1200" dirty="0">
                <a:solidFill>
                  <a:schemeClr val="tx1"/>
                </a:solidFill>
                <a:latin typeface="Fira Sans" panose="020B0503050000020004" pitchFamily="34" charset="0"/>
              </a:rPr>
              <a:t>та </a:t>
            </a:r>
            <a:r>
              <a:rPr lang="ru-RU" sz="1200" b="1" dirty="0">
                <a:solidFill>
                  <a:schemeClr val="tx1"/>
                </a:solidFill>
                <a:latin typeface="Fira Sans" panose="020B0503050000020004" pitchFamily="34" charset="0"/>
              </a:rPr>
              <a:t>останні 4 цифри номера </a:t>
            </a:r>
            <a:r>
              <a:rPr lang="en-US" sz="1200" b="1" dirty="0">
                <a:solidFill>
                  <a:schemeClr val="tx1"/>
                </a:solidFill>
                <a:latin typeface="Fira Sans" panose="020B0503050000020004" pitchFamily="34" charset="0"/>
              </a:rPr>
              <a:t>SSN</a:t>
            </a:r>
            <a:r>
              <a:rPr lang="en-US" sz="1200" dirty="0">
                <a:solidFill>
                  <a:schemeClr val="tx1"/>
                </a:solidFill>
                <a:latin typeface="Fira Sans" panose="020B0503050000020004" pitchFamily="34" charset="0"/>
              </a:rPr>
              <a:t>, </a:t>
            </a:r>
            <a:r>
              <a:rPr lang="ru-RU" sz="1200" dirty="0">
                <a:solidFill>
                  <a:schemeClr val="tx1"/>
                </a:solidFill>
                <a:latin typeface="Fira Sans" panose="020B0503050000020004" pitchFamily="34" charset="0"/>
              </a:rPr>
              <a:t>потім натисніть </a:t>
            </a:r>
            <a:r>
              <a:rPr lang="ru-RU" sz="1200" b="1" dirty="0">
                <a:solidFill>
                  <a:schemeClr val="tx1"/>
                </a:solidFill>
                <a:latin typeface="Fira Sans" panose="020B0503050000020004" pitchFamily="34" charset="0"/>
              </a:rPr>
              <a:t>Продовжити</a:t>
            </a:r>
            <a:endParaRPr lang="ru-RU" sz="1200" dirty="0">
              <a:solidFill>
                <a:schemeClr val="tx1"/>
              </a:solidFill>
              <a:latin typeface="Fira Sans" panose="020B0503050000020004" pitchFamily="34" charset="0"/>
            </a:endParaRPr>
          </a:p>
          <a:p>
            <a:pPr marL="228600" indent="-228600" algn="l">
              <a:buAutoNum type="arabicPeriod"/>
            </a:pPr>
            <a:r>
              <a:rPr lang="ru-RU" sz="1200" dirty="0">
                <a:solidFill>
                  <a:schemeClr val="tx1"/>
                </a:solidFill>
                <a:latin typeface="Fira Sans" panose="020B0503050000020004" pitchFamily="34" charset="0"/>
              </a:rPr>
              <a:t>Введіть </a:t>
            </a:r>
            <a:r>
              <a:rPr lang="ru-RU" sz="1200" b="1" dirty="0">
                <a:solidFill>
                  <a:schemeClr val="tx1"/>
                </a:solidFill>
                <a:latin typeface="Fira Sans" panose="020B0503050000020004" pitchFamily="34" charset="0"/>
              </a:rPr>
              <a:t>6-значний код</a:t>
            </a:r>
            <a:r>
              <a:rPr lang="ru-RU" sz="1200" dirty="0">
                <a:solidFill>
                  <a:schemeClr val="tx1"/>
                </a:solidFill>
                <a:latin typeface="Fira Sans" panose="020B0503050000020004" pitchFamily="34" charset="0"/>
              </a:rPr>
              <a:t>, надісланий на Вашу електронну пошту, та натисніть </a:t>
            </a:r>
            <a:r>
              <a:rPr lang="ru-RU" sz="1200" b="1" dirty="0">
                <a:solidFill>
                  <a:schemeClr val="tx1"/>
                </a:solidFill>
                <a:latin typeface="Fira Sans" panose="020B0503050000020004" pitchFamily="34" charset="0"/>
              </a:rPr>
              <a:t>Підтвердити</a:t>
            </a:r>
            <a:endParaRPr lang="ru-RU" sz="1200" dirty="0">
              <a:solidFill>
                <a:schemeClr val="tx1"/>
              </a:solidFill>
              <a:latin typeface="Fira Sans" panose="020B0503050000020004" pitchFamily="34" charset="0"/>
            </a:endParaRPr>
          </a:p>
          <a:p>
            <a:pPr marL="228600" indent="-228600" algn="l">
              <a:buAutoNum type="arabicPeriod"/>
            </a:pPr>
            <a:r>
              <a:rPr lang="ru-RU" sz="1200" dirty="0">
                <a:solidFill>
                  <a:schemeClr val="tx1"/>
                </a:solidFill>
                <a:latin typeface="Fira Sans" panose="020B0503050000020004" pitchFamily="34" charset="0"/>
              </a:rPr>
              <a:t>Створіть пароль, введіть його двічі та натисніть </a:t>
            </a:r>
            <a:r>
              <a:rPr lang="ru-RU" sz="1200" b="1" dirty="0">
                <a:solidFill>
                  <a:schemeClr val="tx1"/>
                </a:solidFill>
                <a:latin typeface="Fira Sans" panose="020B0503050000020004" pitchFamily="34" charset="0"/>
              </a:rPr>
              <a:t>Створити пароль</a:t>
            </a:r>
            <a:endParaRPr lang="ru-RU" sz="1200" dirty="0">
              <a:solidFill>
                <a:schemeClr val="tx1"/>
              </a:solidFill>
              <a:latin typeface="Fira Sans" panose="020B0503050000020004" pitchFamily="34" charset="0"/>
            </a:endParaRPr>
          </a:p>
          <a:p>
            <a:pPr marL="228600" indent="-228600" algn="l">
              <a:buAutoNum type="arabicPeriod"/>
            </a:pPr>
            <a:endParaRPr lang="ru-RU" sz="1200" dirty="0">
              <a:solidFill>
                <a:schemeClr val="tx1"/>
              </a:solidFill>
              <a:latin typeface="Fira Sans" panose="020B0503050000020004" pitchFamily="34" charset="0"/>
            </a:endParaRPr>
          </a:p>
          <a:p>
            <a:pPr algn="l"/>
            <a:r>
              <a:rPr lang="ru-RU" sz="1200" dirty="0">
                <a:solidFill>
                  <a:schemeClr val="tx1"/>
                </a:solidFill>
                <a:latin typeface="Fira Sans" panose="020B0503050000020004" pitchFamily="34" charset="0"/>
              </a:rPr>
              <a:t>Підказка: Натисніть </a:t>
            </a:r>
            <a:r>
              <a:rPr lang="ru-RU" sz="1200" b="1" dirty="0">
                <a:solidFill>
                  <a:schemeClr val="tx1"/>
                </a:solidFill>
                <a:latin typeface="Fira Sans" panose="020B0503050000020004" pitchFamily="34" charset="0"/>
              </a:rPr>
              <a:t>Увімкнути </a:t>
            </a:r>
            <a:r>
              <a:rPr lang="en-US" sz="1200" b="1" dirty="0">
                <a:solidFill>
                  <a:schemeClr val="tx1"/>
                </a:solidFill>
                <a:latin typeface="Fira Sans" panose="020B0503050000020004" pitchFamily="34" charset="0"/>
              </a:rPr>
              <a:t>Face/Touch ID</a:t>
            </a:r>
            <a:r>
              <a:rPr lang="en-US" sz="1200" dirty="0">
                <a:solidFill>
                  <a:schemeClr val="tx1"/>
                </a:solidFill>
                <a:latin typeface="Fira Sans" panose="020B0503050000020004" pitchFamily="34" charset="0"/>
              </a:rPr>
              <a:t>, </a:t>
            </a:r>
            <a:r>
              <a:rPr lang="ru-RU" sz="1200" dirty="0">
                <a:solidFill>
                  <a:schemeClr val="tx1"/>
                </a:solidFill>
                <a:latin typeface="Fira Sans" panose="020B0503050000020004" pitchFamily="34" charset="0"/>
              </a:rPr>
              <a:t>щоб пришвидшити вхід у систему в майбутньому!</a:t>
            </a:r>
          </a:p>
          <a:p>
            <a:pPr marL="228600" indent="-228600" algn="l">
              <a:buAutoNum type="arabicPeriod"/>
            </a:pPr>
            <a:endParaRPr lang="ru-RU" sz="1200" dirty="0">
              <a:solidFill>
                <a:schemeClr val="tx1"/>
              </a:solidFill>
              <a:latin typeface="Fira Sans" panose="020B05030500000200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F535A00B-0361-A397-55BA-E6B6B3A82CC4}"/>
              </a:ext>
            </a:extLst>
          </p:cNvPr>
          <p:cNvSpPr txBox="1"/>
          <p:nvPr/>
        </p:nvSpPr>
        <p:spPr>
          <a:xfrm>
            <a:off x="163789" y="3169777"/>
            <a:ext cx="2873616" cy="101566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28600" indent="-228600" algn="l">
              <a:buAutoNum type="arabicPeriod"/>
            </a:pPr>
            <a:r>
              <a:rPr lang="ru-RU" sz="1200" dirty="0">
                <a:solidFill>
                  <a:schemeClr val="tx1"/>
                </a:solidFill>
                <a:latin typeface="Fira Sans"/>
                <a:cs typeface="Arial"/>
              </a:rPr>
              <a:t>Натисніть на посилання нижче або відскануйте </a:t>
            </a:r>
            <a:r>
              <a:rPr lang="en-US" sz="1200" dirty="0">
                <a:solidFill>
                  <a:schemeClr val="tx1"/>
                </a:solidFill>
                <a:latin typeface="Fira Sans"/>
                <a:cs typeface="Arial"/>
              </a:rPr>
              <a:t>QR-</a:t>
            </a:r>
            <a:r>
              <a:rPr lang="ru-RU" sz="1200" dirty="0">
                <a:solidFill>
                  <a:schemeClr val="tx1"/>
                </a:solidFill>
                <a:latin typeface="Fira Sans"/>
                <a:cs typeface="Arial"/>
              </a:rPr>
              <a:t>коди праворуч, щоб завантажити додаток на Ваш пристрій </a:t>
            </a:r>
            <a:r>
              <a:rPr lang="en-US" sz="1200" dirty="0">
                <a:solidFill>
                  <a:schemeClr val="tx1"/>
                </a:solidFill>
                <a:latin typeface="Fira Sans"/>
                <a:cs typeface="Arial"/>
              </a:rPr>
              <a:t>Apple </a:t>
            </a:r>
            <a:r>
              <a:rPr lang="ru-RU" sz="1200" dirty="0">
                <a:solidFill>
                  <a:schemeClr val="tx1"/>
                </a:solidFill>
                <a:latin typeface="Fira Sans"/>
                <a:cs typeface="Arial"/>
              </a:rPr>
              <a:t>або </a:t>
            </a:r>
            <a:r>
              <a:rPr lang="en-US" sz="1200" dirty="0">
                <a:solidFill>
                  <a:schemeClr val="tx1"/>
                </a:solidFill>
                <a:latin typeface="Fira Sans"/>
                <a:cs typeface="Arial"/>
              </a:rPr>
              <a:t>Android</a:t>
            </a:r>
            <a:endParaRPr lang="ru-RU" sz="1200" dirty="0">
              <a:solidFill>
                <a:schemeClr val="tx1"/>
              </a:solidFill>
              <a:latin typeface="Fira Sans"/>
              <a:cs typeface="Arial"/>
            </a:endParaRP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1BB0A3CC-71EE-7633-5AA2-08E333197AAA}"/>
              </a:ext>
            </a:extLst>
          </p:cNvPr>
          <p:cNvSpPr/>
          <p:nvPr/>
        </p:nvSpPr>
        <p:spPr bwMode="auto">
          <a:xfrm>
            <a:off x="-100490" y="5112367"/>
            <a:ext cx="3216489" cy="782700"/>
          </a:xfrm>
          <a:prstGeom prst="roundRect">
            <a:avLst/>
          </a:prstGeom>
          <a:solidFill>
            <a:schemeClr val="accent1">
              <a:lumMod val="20000"/>
              <a:lumOff val="80000"/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lvl="1" algn="l"/>
            <a:r>
              <a:rPr lang="uk-UA" sz="2000" b="1" i="1" dirty="0">
                <a:solidFill>
                  <a:schemeClr val="tx1"/>
                </a:solidFill>
                <a:latin typeface="Fira Sans" panose="020B0503050000020004" pitchFamily="34" charset="0"/>
              </a:rPr>
              <a:t> Реєстрація</a:t>
            </a:r>
            <a:endParaRPr lang="en-US" sz="2000" b="1" i="1" dirty="0">
              <a:solidFill>
                <a:schemeClr val="tx1"/>
              </a:solidFill>
              <a:latin typeface="Fira Sans" panose="020B0503050000020004" pitchFamily="34" charset="0"/>
            </a:endParaRPr>
          </a:p>
        </p:txBody>
      </p:sp>
      <p:sp>
        <p:nvSpPr>
          <p:cNvPr id="3" name="Flowchart: Connector 2">
            <a:extLst>
              <a:ext uri="{FF2B5EF4-FFF2-40B4-BE49-F238E27FC236}">
                <a16:creationId xmlns:a16="http://schemas.microsoft.com/office/drawing/2014/main" id="{3179DE70-093C-B0E6-EFB6-694974F0EE44}"/>
              </a:ext>
            </a:extLst>
          </p:cNvPr>
          <p:cNvSpPr/>
          <p:nvPr/>
        </p:nvSpPr>
        <p:spPr bwMode="auto">
          <a:xfrm>
            <a:off x="2808805" y="4975654"/>
            <a:ext cx="457200" cy="457200"/>
          </a:xfrm>
          <a:prstGeom prst="flowChartConnector">
            <a:avLst/>
          </a:prstGeom>
          <a:solidFill>
            <a:schemeClr val="bg1">
              <a:lumMod val="65000"/>
            </a:schemeClr>
          </a:solidFill>
          <a:ln w="571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rPr>
              <a:t>2</a:t>
            </a:r>
            <a:endParaRPr kumimoji="0" lang="en-US" sz="14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Fira Sans" panose="020B0503050000020004" pitchFamily="34" charset="0"/>
              <a:cs typeface="Arial" pitchFamily="34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8DB889A-AF86-4F09-1795-D03DE2F26C6D}"/>
              </a:ext>
            </a:extLst>
          </p:cNvPr>
          <p:cNvGrpSpPr>
            <a:grpSpLocks noChangeAspect="1"/>
          </p:cNvGrpSpPr>
          <p:nvPr/>
        </p:nvGrpSpPr>
        <p:grpSpPr>
          <a:xfrm>
            <a:off x="3391140" y="5431615"/>
            <a:ext cx="1183361" cy="2430160"/>
            <a:chOff x="6903154" y="4314199"/>
            <a:chExt cx="2127195" cy="4368424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F8A10F26-7E5F-33EF-6E70-426564FCBC4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903154" y="4314199"/>
              <a:ext cx="2127195" cy="4368424"/>
            </a:xfrm>
            <a:prstGeom prst="roundRect">
              <a:avLst/>
            </a:prstGeom>
          </p:spPr>
        </p:pic>
        <p:pic>
          <p:nvPicPr>
            <p:cNvPr id="5122" name="Picture 2">
              <a:extLst>
                <a:ext uri="{FF2B5EF4-FFF2-40B4-BE49-F238E27FC236}">
                  <a16:creationId xmlns:a16="http://schemas.microsoft.com/office/drawing/2014/main" id="{FBDB8A3C-D186-7380-F526-091E89BD02A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01907" y="4396114"/>
              <a:ext cx="1930114" cy="4176503"/>
            </a:xfrm>
            <a:prstGeom prst="round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6085C6C-FC76-24C0-BD0D-0AFCF5EF77AC}"/>
              </a:ext>
            </a:extLst>
          </p:cNvPr>
          <p:cNvGrpSpPr/>
          <p:nvPr/>
        </p:nvGrpSpPr>
        <p:grpSpPr>
          <a:xfrm>
            <a:off x="4358947" y="6065822"/>
            <a:ext cx="1200607" cy="2430160"/>
            <a:chOff x="4231921" y="6065822"/>
            <a:chExt cx="1200607" cy="2430160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8A65FAEC-D822-FA47-8AAA-05A989504AC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249167" y="6065822"/>
              <a:ext cx="1183361" cy="2430160"/>
              <a:chOff x="7084064" y="2608912"/>
              <a:chExt cx="2127195" cy="4368424"/>
            </a:xfrm>
          </p:grpSpPr>
          <p:pic>
            <p:nvPicPr>
              <p:cNvPr id="4" name="Picture 3">
                <a:extLst>
                  <a:ext uri="{FF2B5EF4-FFF2-40B4-BE49-F238E27FC236}">
                    <a16:creationId xmlns:a16="http://schemas.microsoft.com/office/drawing/2014/main" id="{54B48FAA-5D6A-A8D3-CF97-93CB61F174E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7084064" y="2608912"/>
                <a:ext cx="2127195" cy="4368424"/>
              </a:xfrm>
              <a:prstGeom prst="roundRect">
                <a:avLst/>
              </a:prstGeom>
            </p:spPr>
          </p:pic>
          <p:pic>
            <p:nvPicPr>
              <p:cNvPr id="7" name="Picture 2" descr="A screenshot of a phone&#10;&#10;Description automatically generated">
                <a:extLst>
                  <a:ext uri="{FF2B5EF4-FFF2-40B4-BE49-F238E27FC236}">
                    <a16:creationId xmlns:a16="http://schemas.microsoft.com/office/drawing/2014/main" id="{000D8B13-5BCD-B944-F5BB-83339E310B47}"/>
                  </a:ext>
                </a:extLst>
              </p:cNvPr>
              <p:cNvPicPr>
                <a:picLocks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164462" y="2705877"/>
                <a:ext cx="1960877" cy="4161453"/>
              </a:xfrm>
              <a:prstGeom prst="roundRect">
                <a:avLst/>
              </a:prstGeom>
              <a:noFill/>
              <a:ln>
                <a:solidFill>
                  <a:schemeClr val="tx1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55F68835-1D19-EB6A-EA84-5EEC36E11DAC}"/>
                </a:ext>
              </a:extLst>
            </p:cNvPr>
            <p:cNvSpPr/>
            <p:nvPr/>
          </p:nvSpPr>
          <p:spPr bwMode="auto">
            <a:xfrm>
              <a:off x="4231921" y="7305872"/>
              <a:ext cx="1183361" cy="184192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3856936E-5BF3-9B66-AEB9-8B951C1BAD79}"/>
              </a:ext>
            </a:extLst>
          </p:cNvPr>
          <p:cNvGrpSpPr/>
          <p:nvPr/>
        </p:nvGrpSpPr>
        <p:grpSpPr>
          <a:xfrm>
            <a:off x="5343999" y="6853902"/>
            <a:ext cx="1186833" cy="2430160"/>
            <a:chOff x="5343999" y="6853902"/>
            <a:chExt cx="1186833" cy="2430160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5D8C1AB5-37FF-810A-9AD9-933A573D14E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347471" y="6853902"/>
              <a:ext cx="1183361" cy="2430160"/>
              <a:chOff x="9291657" y="2616388"/>
              <a:chExt cx="2127195" cy="4368424"/>
            </a:xfrm>
          </p:grpSpPr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DDC0D5CE-1C3C-8B19-1517-D8BAEF8220C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9291657" y="2616388"/>
                <a:ext cx="2127195" cy="4368424"/>
              </a:xfrm>
              <a:prstGeom prst="roundRect">
                <a:avLst/>
              </a:prstGeom>
            </p:spPr>
          </p:pic>
          <p:pic>
            <p:nvPicPr>
              <p:cNvPr id="1030" name="Picture 6" descr="A screenshot of a phone&#10;&#10;Description automatically generated">
                <a:extLst>
                  <a:ext uri="{FF2B5EF4-FFF2-40B4-BE49-F238E27FC236}">
                    <a16:creationId xmlns:a16="http://schemas.microsoft.com/office/drawing/2014/main" id="{0F5812E4-3F84-B1D7-2F0F-BAEBA19A2B1D}"/>
                  </a:ext>
                </a:extLst>
              </p:cNvPr>
              <p:cNvPicPr>
                <a:picLocks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379612" y="2705876"/>
                <a:ext cx="1957083" cy="4161454"/>
              </a:xfrm>
              <a:prstGeom prst="roundRect">
                <a:avLst/>
              </a:prstGeom>
              <a:noFill/>
              <a:ln>
                <a:solidFill>
                  <a:schemeClr val="tx1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16EBBA92-F67D-E709-D686-95C7D45280C3}"/>
                </a:ext>
              </a:extLst>
            </p:cNvPr>
            <p:cNvSpPr/>
            <p:nvPr/>
          </p:nvSpPr>
          <p:spPr bwMode="auto">
            <a:xfrm>
              <a:off x="5343999" y="8876247"/>
              <a:ext cx="1183361" cy="184192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BCB2BDB1-40C6-7470-C08A-511A4EB9585D}"/>
                </a:ext>
              </a:extLst>
            </p:cNvPr>
            <p:cNvSpPr/>
            <p:nvPr/>
          </p:nvSpPr>
          <p:spPr bwMode="auto">
            <a:xfrm>
              <a:off x="6192641" y="8160625"/>
              <a:ext cx="262036" cy="184192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4F73FCE7-B1AC-700E-A576-14B981BA52E0}"/>
              </a:ext>
            </a:extLst>
          </p:cNvPr>
          <p:cNvSpPr/>
          <p:nvPr/>
        </p:nvSpPr>
        <p:spPr bwMode="auto">
          <a:xfrm>
            <a:off x="4973970" y="2524883"/>
            <a:ext cx="1784969" cy="1001934"/>
          </a:xfrm>
          <a:prstGeom prst="rect">
            <a:avLst/>
          </a:prstGeom>
          <a:solidFill>
            <a:schemeClr val="accent3">
              <a:alpha val="70000"/>
            </a:schemeClr>
          </a:solidFill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r>
              <a:rPr lang="ru-RU" sz="1400" b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Пристрої </a:t>
            </a:r>
            <a:r>
              <a:rPr lang="en-US" sz="1400" b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ndroid:</a:t>
            </a:r>
            <a:r>
              <a:rPr lang="ru-RU" sz="1400" b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400" b="1" u="sng" dirty="0">
                <a:solidFill>
                  <a:srgbClr val="0070C0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  <a:hlinkClick r:id="rId11"/>
              </a:rPr>
              <a:t>Натисніть тут</a:t>
            </a:r>
            <a:endParaRPr lang="ru-RU" sz="1400" b="1" u="sng" dirty="0">
              <a:solidFill>
                <a:srgbClr val="0070C0"/>
              </a:solidFill>
              <a:latin typeface="Fira Sans" panose="020B05030500000200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sz="1400" b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або скануйте </a:t>
            </a:r>
            <a:r>
              <a:rPr lang="en-US" sz="1400" b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QR-</a:t>
            </a:r>
            <a:endParaRPr lang="ru-RU" sz="1400" b="1" dirty="0">
              <a:solidFill>
                <a:schemeClr val="bg1"/>
              </a:solidFill>
              <a:latin typeface="Fira Sans" panose="020B05030500000200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sz="1400" b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код нижче!</a:t>
            </a:r>
            <a:endParaRPr lang="en-US" sz="1400" b="1" dirty="0">
              <a:solidFill>
                <a:schemeClr val="bg1"/>
              </a:solidFill>
              <a:latin typeface="Fira Sans" panose="020B05030500000200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5" name="Picture 24" descr="A qr code on a white background&#10;&#10;Description automatically generated">
            <a:extLst>
              <a:ext uri="{FF2B5EF4-FFF2-40B4-BE49-F238E27FC236}">
                <a16:creationId xmlns:a16="http://schemas.microsoft.com/office/drawing/2014/main" id="{E5170B37-D534-C222-E8B0-F35587EE3F4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565918" y="3628002"/>
            <a:ext cx="1183361" cy="1183361"/>
          </a:xfrm>
          <a:prstGeom prst="rect">
            <a:avLst/>
          </a:prstGeom>
        </p:spPr>
      </p:pic>
      <p:pic>
        <p:nvPicPr>
          <p:cNvPr id="24" name="Picture 23" descr="A qr code with a white background&#10;&#10;Description automatically generated">
            <a:extLst>
              <a:ext uri="{FF2B5EF4-FFF2-40B4-BE49-F238E27FC236}">
                <a16:creationId xmlns:a16="http://schemas.microsoft.com/office/drawing/2014/main" id="{1E334FD0-BF41-9FC1-1B15-8CAE06872338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274773" y="3612958"/>
            <a:ext cx="1183361" cy="1183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04295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880F51-A6A5-7244-575D-BF3175E32711}"/>
              </a:ext>
            </a:extLst>
          </p:cNvPr>
          <p:cNvSpPr/>
          <p:nvPr/>
        </p:nvSpPr>
        <p:spPr bwMode="auto">
          <a:xfrm>
            <a:off x="0" y="0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 </a:t>
            </a:r>
          </a:p>
        </p:txBody>
      </p:sp>
      <p:pic>
        <p:nvPicPr>
          <p:cNvPr id="55" name="Graphic 54">
            <a:extLst>
              <a:ext uri="{FF2B5EF4-FFF2-40B4-BE49-F238E27FC236}">
                <a16:creationId xmlns:a16="http://schemas.microsoft.com/office/drawing/2014/main" id="{A7DBC419-09F9-A553-9139-E7D48A64144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4009" y="8682623"/>
            <a:ext cx="1073746" cy="557636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A2C83402-1FCF-753A-DA89-B17258866EF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90" t="15643" r="8290" b="63387"/>
          <a:stretch/>
        </p:blipFill>
        <p:spPr>
          <a:xfrm>
            <a:off x="0" y="288969"/>
            <a:ext cx="3327400" cy="557636"/>
          </a:xfrm>
          <a:custGeom>
            <a:avLst/>
            <a:gdLst>
              <a:gd name="connsiteX0" fmla="*/ 0 w 3327400"/>
              <a:gd name="connsiteY0" fmla="*/ 0 h 557636"/>
              <a:gd name="connsiteX1" fmla="*/ 3234459 w 3327400"/>
              <a:gd name="connsiteY1" fmla="*/ 0 h 557636"/>
              <a:gd name="connsiteX2" fmla="*/ 3327400 w 3327400"/>
              <a:gd name="connsiteY2" fmla="*/ 92941 h 557636"/>
              <a:gd name="connsiteX3" fmla="*/ 3327400 w 3327400"/>
              <a:gd name="connsiteY3" fmla="*/ 464695 h 557636"/>
              <a:gd name="connsiteX4" fmla="*/ 3234459 w 3327400"/>
              <a:gd name="connsiteY4" fmla="*/ 557636 h 557636"/>
              <a:gd name="connsiteX5" fmla="*/ 0 w 3327400"/>
              <a:gd name="connsiteY5" fmla="*/ 557636 h 557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27400" h="557636">
                <a:moveTo>
                  <a:pt x="0" y="0"/>
                </a:moveTo>
                <a:lnTo>
                  <a:pt x="3234459" y="0"/>
                </a:lnTo>
                <a:cubicBezTo>
                  <a:pt x="3285789" y="0"/>
                  <a:pt x="3327400" y="41611"/>
                  <a:pt x="3327400" y="92941"/>
                </a:cubicBezTo>
                <a:lnTo>
                  <a:pt x="3327400" y="464695"/>
                </a:lnTo>
                <a:cubicBezTo>
                  <a:pt x="3327400" y="516025"/>
                  <a:pt x="3285789" y="557636"/>
                  <a:pt x="3234459" y="557636"/>
                </a:cubicBezTo>
                <a:lnTo>
                  <a:pt x="0" y="557636"/>
                </a:lnTo>
                <a:close/>
              </a:path>
            </a:pathLst>
          </a:custGeom>
        </p:spPr>
      </p:pic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CFC0681B-770C-0242-A364-D26FA10F33FA}"/>
              </a:ext>
            </a:extLst>
          </p:cNvPr>
          <p:cNvSpPr/>
          <p:nvPr/>
        </p:nvSpPr>
        <p:spPr bwMode="auto">
          <a:xfrm>
            <a:off x="-146837" y="288969"/>
            <a:ext cx="3515843" cy="557636"/>
          </a:xfrm>
          <a:prstGeom prst="roundRect">
            <a:avLst>
              <a:gd name="adj" fmla="val 15585"/>
            </a:avLst>
          </a:prstGeom>
          <a:solidFill>
            <a:schemeClr val="accent3"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lvl="1" algn="l">
              <a:defRPr/>
            </a:pPr>
            <a:r>
              <a:rPr lang="uk-UA" sz="2000" b="1" i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Увімкнення оновлень</a:t>
            </a:r>
            <a:endParaRPr kumimoji="0" lang="en-US" sz="200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ira Sans" panose="020B05030500000200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8FBCBEB-6D3E-B0D2-86ED-1969292D2B79}"/>
              </a:ext>
            </a:extLst>
          </p:cNvPr>
          <p:cNvSpPr txBox="1"/>
          <p:nvPr/>
        </p:nvSpPr>
        <p:spPr>
          <a:xfrm>
            <a:off x="176091" y="898946"/>
            <a:ext cx="5693367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l"/>
            <a:r>
              <a:rPr lang="ru-RU" sz="1200" b="1" dirty="0">
                <a:solidFill>
                  <a:schemeClr val="tx1"/>
                </a:solidFill>
                <a:latin typeface="Fira Sans"/>
                <a:cs typeface="Arial"/>
              </a:rPr>
              <a:t>Щоб отримувати майбутні покращення додатку та нові функції, увімкніть автоматичне оновлення!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31C9F8E1-E1FD-E03F-1393-6F8904B44608}"/>
              </a:ext>
            </a:extLst>
          </p:cNvPr>
          <p:cNvSpPr/>
          <p:nvPr/>
        </p:nvSpPr>
        <p:spPr bwMode="auto">
          <a:xfrm>
            <a:off x="-101601" y="1729943"/>
            <a:ext cx="3052155" cy="461665"/>
          </a:xfrm>
          <a:prstGeom prst="roundRect">
            <a:avLst/>
          </a:prstGeom>
          <a:solidFill>
            <a:schemeClr val="accent1">
              <a:lumMod val="20000"/>
              <a:lumOff val="80000"/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lvl="1" algn="l"/>
            <a:r>
              <a:rPr lang="uk-UA" sz="2000" b="1" i="1" dirty="0">
                <a:solidFill>
                  <a:schemeClr val="tx1"/>
                </a:solidFill>
                <a:latin typeface="Fira Sans" panose="020B0503050000020004" pitchFamily="34" charset="0"/>
              </a:rPr>
              <a:t>Пристрої </a:t>
            </a:r>
            <a:r>
              <a:rPr lang="en-US" sz="2000" b="1" i="1" dirty="0">
                <a:solidFill>
                  <a:schemeClr val="tx1"/>
                </a:solidFill>
                <a:latin typeface="Fira Sans" panose="020B0503050000020004" pitchFamily="34" charset="0"/>
              </a:rPr>
              <a:t>Apple</a:t>
            </a: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B1FB16DA-1244-5E16-5FE3-200015F7BFDD}"/>
              </a:ext>
            </a:extLst>
          </p:cNvPr>
          <p:cNvSpPr/>
          <p:nvPr/>
        </p:nvSpPr>
        <p:spPr bwMode="auto">
          <a:xfrm>
            <a:off x="-101601" y="5176929"/>
            <a:ext cx="3047738" cy="461665"/>
          </a:xfrm>
          <a:prstGeom prst="roundRect">
            <a:avLst/>
          </a:prstGeom>
          <a:solidFill>
            <a:schemeClr val="accent1">
              <a:lumMod val="20000"/>
              <a:lumOff val="80000"/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lvl="1" algn="l"/>
            <a:r>
              <a:rPr lang="uk-UA" sz="2000" b="1" i="1" dirty="0">
                <a:solidFill>
                  <a:schemeClr val="tx1"/>
                </a:solidFill>
                <a:latin typeface="Fira Sans" panose="020B0503050000020004" pitchFamily="34" charset="0"/>
              </a:rPr>
              <a:t>Пристрої </a:t>
            </a:r>
            <a:r>
              <a:rPr lang="en-US" sz="2000" b="1" i="1" dirty="0">
                <a:solidFill>
                  <a:schemeClr val="tx1"/>
                </a:solidFill>
                <a:latin typeface="Fira Sans" panose="020B0503050000020004" pitchFamily="34" charset="0"/>
              </a:rPr>
              <a:t>Android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A48518B-CB0A-8B11-60EB-C89A8707AEDE}"/>
              </a:ext>
            </a:extLst>
          </p:cNvPr>
          <p:cNvSpPr txBox="1"/>
          <p:nvPr/>
        </p:nvSpPr>
        <p:spPr>
          <a:xfrm>
            <a:off x="178380" y="5690935"/>
            <a:ext cx="287361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 algn="l">
              <a:buAutoNum type="arabicPeriod"/>
            </a:pPr>
            <a:r>
              <a:rPr lang="ru-RU" sz="1200" dirty="0">
                <a:solidFill>
                  <a:schemeClr val="tx1"/>
                </a:solidFill>
                <a:latin typeface="Fira Sans" panose="020B0503050000020004" pitchFamily="34" charset="0"/>
              </a:rPr>
              <a:t>Відкрийте </a:t>
            </a:r>
            <a:r>
              <a:rPr lang="en-US" sz="1200" b="1" dirty="0">
                <a:solidFill>
                  <a:schemeClr val="tx1"/>
                </a:solidFill>
                <a:latin typeface="Fira Sans" panose="020B0503050000020004" pitchFamily="34" charset="0"/>
              </a:rPr>
              <a:t>Google Play Store</a:t>
            </a:r>
          </a:p>
          <a:p>
            <a:pPr marL="228600" indent="-228600" algn="l">
              <a:buAutoNum type="arabicPeriod"/>
            </a:pPr>
            <a:r>
              <a:rPr lang="ru-RU" sz="1200" dirty="0">
                <a:solidFill>
                  <a:schemeClr val="tx1"/>
                </a:solidFill>
                <a:latin typeface="Fira Sans" panose="020B0503050000020004" pitchFamily="34" charset="0"/>
              </a:rPr>
              <a:t>Натисніть </a:t>
            </a:r>
            <a:r>
              <a:rPr lang="ru-RU" sz="1200" b="1" dirty="0">
                <a:solidFill>
                  <a:schemeClr val="tx1"/>
                </a:solidFill>
                <a:latin typeface="Fira Sans" panose="020B0503050000020004" pitchFamily="34" charset="0"/>
              </a:rPr>
              <a:t>іконку акаунта </a:t>
            </a:r>
            <a:r>
              <a:rPr lang="ru-RU" sz="1200" dirty="0">
                <a:solidFill>
                  <a:schemeClr val="tx1"/>
                </a:solidFill>
                <a:latin typeface="Fira Sans" panose="020B0503050000020004" pitchFamily="34" charset="0"/>
              </a:rPr>
              <a:t>у верхньому правому куті</a:t>
            </a:r>
          </a:p>
          <a:p>
            <a:pPr marL="228600" indent="-228600" algn="l">
              <a:buAutoNum type="arabicPeriod"/>
            </a:pPr>
            <a:r>
              <a:rPr lang="ru-RU" sz="1200" dirty="0">
                <a:solidFill>
                  <a:schemeClr val="tx1"/>
                </a:solidFill>
                <a:latin typeface="Fira Sans" panose="020B0503050000020004" pitchFamily="34" charset="0"/>
              </a:rPr>
              <a:t>Виберіть </a:t>
            </a:r>
            <a:r>
              <a:rPr lang="ru-RU" sz="1200" b="1" dirty="0">
                <a:solidFill>
                  <a:schemeClr val="tx1"/>
                </a:solidFill>
                <a:latin typeface="Fira Sans" panose="020B0503050000020004" pitchFamily="34" charset="0"/>
              </a:rPr>
              <a:t>Налаштування</a:t>
            </a:r>
          </a:p>
          <a:p>
            <a:pPr marL="228600" indent="-228600" algn="l">
              <a:buAutoNum type="arabicPeriod"/>
            </a:pPr>
            <a:r>
              <a:rPr lang="ru-RU" sz="1200" dirty="0">
                <a:solidFill>
                  <a:schemeClr val="tx1"/>
                </a:solidFill>
                <a:latin typeface="Fira Sans" panose="020B0503050000020004" pitchFamily="34" charset="0"/>
              </a:rPr>
              <a:t>Натисніть </a:t>
            </a:r>
            <a:r>
              <a:rPr lang="ru-RU" sz="1200" b="1" dirty="0">
                <a:solidFill>
                  <a:schemeClr val="tx1"/>
                </a:solidFill>
                <a:latin typeface="Fira Sans" panose="020B0503050000020004" pitchFamily="34" charset="0"/>
              </a:rPr>
              <a:t>Налаштування мережі</a:t>
            </a:r>
          </a:p>
          <a:p>
            <a:pPr marL="228600" indent="-228600" algn="l">
              <a:buAutoNum type="arabicPeriod"/>
            </a:pPr>
            <a:r>
              <a:rPr lang="ru-RU" sz="1200" dirty="0">
                <a:solidFill>
                  <a:schemeClr val="tx1"/>
                </a:solidFill>
                <a:latin typeface="Fira Sans" panose="020B0503050000020004" pitchFamily="34" charset="0"/>
              </a:rPr>
              <a:t>Виберіть </a:t>
            </a:r>
            <a:r>
              <a:rPr lang="ru-RU" sz="1200" b="1" dirty="0">
                <a:solidFill>
                  <a:schemeClr val="tx1"/>
                </a:solidFill>
                <a:latin typeface="Fira Sans" panose="020B0503050000020004" pitchFamily="34" charset="0"/>
              </a:rPr>
              <a:t>Автооновлення всіх додатків через </a:t>
            </a:r>
            <a:r>
              <a:rPr lang="en-US" sz="1200" b="1" dirty="0">
                <a:solidFill>
                  <a:schemeClr val="tx1"/>
                </a:solidFill>
                <a:latin typeface="Fira Sans" panose="020B0503050000020004" pitchFamily="34" charset="0"/>
              </a:rPr>
              <a:t>Wi-Fi </a:t>
            </a:r>
            <a:r>
              <a:rPr lang="ru-RU" sz="1200" b="1" dirty="0">
                <a:solidFill>
                  <a:schemeClr val="tx1"/>
                </a:solidFill>
                <a:latin typeface="Fira Sans" panose="020B0503050000020004" pitchFamily="34" charset="0"/>
              </a:rPr>
              <a:t>або мобільні дані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36F97727-61BE-5CFA-6751-84AD307A0292}"/>
              </a:ext>
            </a:extLst>
          </p:cNvPr>
          <p:cNvGrpSpPr/>
          <p:nvPr/>
        </p:nvGrpSpPr>
        <p:grpSpPr>
          <a:xfrm>
            <a:off x="3006324" y="5182334"/>
            <a:ext cx="1183361" cy="2430160"/>
            <a:chOff x="3006324" y="5036284"/>
            <a:chExt cx="1183361" cy="2430160"/>
          </a:xfrm>
        </p:grpSpPr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6EF9D787-C90C-7B94-DE4D-6432A65AE875}"/>
                </a:ext>
              </a:extLst>
            </p:cNvPr>
            <p:cNvGrpSpPr/>
            <p:nvPr/>
          </p:nvGrpSpPr>
          <p:grpSpPr>
            <a:xfrm>
              <a:off x="3006324" y="5036284"/>
              <a:ext cx="1183361" cy="2430160"/>
              <a:chOff x="3006324" y="5036284"/>
              <a:chExt cx="1183361" cy="2430160"/>
            </a:xfrm>
          </p:grpSpPr>
          <p:pic>
            <p:nvPicPr>
              <p:cNvPr id="36" name="Picture 35">
                <a:extLst>
                  <a:ext uri="{FF2B5EF4-FFF2-40B4-BE49-F238E27FC236}">
                    <a16:creationId xmlns:a16="http://schemas.microsoft.com/office/drawing/2014/main" id="{2B153FED-F80C-F786-1059-4787E892987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3006324" y="5036284"/>
                <a:ext cx="1183361" cy="2430160"/>
              </a:xfrm>
              <a:prstGeom prst="roundRect">
                <a:avLst/>
              </a:prstGeom>
            </p:spPr>
          </p:pic>
          <p:pic>
            <p:nvPicPr>
              <p:cNvPr id="11" name="Picture 6">
                <a:extLst>
                  <a:ext uri="{FF2B5EF4-FFF2-40B4-BE49-F238E27FC236}">
                    <a16:creationId xmlns:a16="http://schemas.microsoft.com/office/drawing/2014/main" id="{2C255113-ABE6-2C2D-78BB-DEECDD54411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55752" y="5090973"/>
                <a:ext cx="1049868" cy="2275028"/>
              </a:xfrm>
              <a:prstGeom prst="round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0E9A4737-11A4-4651-9938-61A52510B637}"/>
                </a:ext>
              </a:extLst>
            </p:cNvPr>
            <p:cNvSpPr/>
            <p:nvPr/>
          </p:nvSpPr>
          <p:spPr bwMode="auto">
            <a:xfrm>
              <a:off x="3874258" y="5142445"/>
              <a:ext cx="255240" cy="242445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EE3BA821-86EF-FAF7-EFAA-52C100683525}"/>
              </a:ext>
            </a:extLst>
          </p:cNvPr>
          <p:cNvGrpSpPr/>
          <p:nvPr/>
        </p:nvGrpSpPr>
        <p:grpSpPr>
          <a:xfrm>
            <a:off x="3826429" y="5582700"/>
            <a:ext cx="1183361" cy="2430160"/>
            <a:chOff x="3826429" y="5485333"/>
            <a:chExt cx="1183361" cy="2430160"/>
          </a:xfrm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6CC8995A-2CC5-3ACC-6080-98C1B227D8AC}"/>
                </a:ext>
              </a:extLst>
            </p:cNvPr>
            <p:cNvGrpSpPr/>
            <p:nvPr/>
          </p:nvGrpSpPr>
          <p:grpSpPr>
            <a:xfrm>
              <a:off x="3826429" y="5485333"/>
              <a:ext cx="1183361" cy="2430160"/>
              <a:chOff x="3158724" y="5188684"/>
              <a:chExt cx="1183361" cy="2430160"/>
            </a:xfrm>
          </p:grpSpPr>
          <p:pic>
            <p:nvPicPr>
              <p:cNvPr id="37" name="Picture 36">
                <a:extLst>
                  <a:ext uri="{FF2B5EF4-FFF2-40B4-BE49-F238E27FC236}">
                    <a16:creationId xmlns:a16="http://schemas.microsoft.com/office/drawing/2014/main" id="{49BFF0CC-635D-C33C-0550-C94EF0CABAA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3158724" y="5188684"/>
                <a:ext cx="1183361" cy="2430160"/>
              </a:xfrm>
              <a:prstGeom prst="roundRect">
                <a:avLst/>
              </a:prstGeom>
            </p:spPr>
          </p:pic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552B0643-F5F4-A447-D878-F937B3878D9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213233" y="5238822"/>
                <a:ext cx="1073083" cy="2325334"/>
              </a:xfrm>
              <a:prstGeom prst="round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8E235C17-5ED2-0196-EF6A-A6555253BBF8}"/>
                </a:ext>
              </a:extLst>
            </p:cNvPr>
            <p:cNvSpPr/>
            <p:nvPr/>
          </p:nvSpPr>
          <p:spPr bwMode="auto">
            <a:xfrm>
              <a:off x="3909504" y="7371732"/>
              <a:ext cx="595752" cy="248268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7E3DDAB4-0E87-1474-C721-AB01163B26D4}"/>
              </a:ext>
            </a:extLst>
          </p:cNvPr>
          <p:cNvGrpSpPr/>
          <p:nvPr/>
        </p:nvGrpSpPr>
        <p:grpSpPr>
          <a:xfrm>
            <a:off x="4575839" y="5983066"/>
            <a:ext cx="1254056" cy="2430160"/>
            <a:chOff x="4575839" y="5934382"/>
            <a:chExt cx="1254056" cy="2430160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7DE8710C-AE36-D9C0-7F62-AD38792DB60A}"/>
                </a:ext>
              </a:extLst>
            </p:cNvPr>
            <p:cNvGrpSpPr/>
            <p:nvPr/>
          </p:nvGrpSpPr>
          <p:grpSpPr>
            <a:xfrm>
              <a:off x="4646534" y="5934382"/>
              <a:ext cx="1183361" cy="2430160"/>
              <a:chOff x="4076365" y="5860850"/>
              <a:chExt cx="1183361" cy="2430160"/>
            </a:xfrm>
          </p:grpSpPr>
          <p:pic>
            <p:nvPicPr>
              <p:cNvPr id="39" name="Picture 38">
                <a:extLst>
                  <a:ext uri="{FF2B5EF4-FFF2-40B4-BE49-F238E27FC236}">
                    <a16:creationId xmlns:a16="http://schemas.microsoft.com/office/drawing/2014/main" id="{E7A59B22-4EA8-330E-284C-273215B85B7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076365" y="5860850"/>
                <a:ext cx="1183361" cy="2430160"/>
              </a:xfrm>
              <a:prstGeom prst="roundRect">
                <a:avLst/>
              </a:prstGeom>
            </p:spPr>
          </p:pic>
          <p:pic>
            <p:nvPicPr>
              <p:cNvPr id="1028" name="Picture 4">
                <a:extLst>
                  <a:ext uri="{FF2B5EF4-FFF2-40B4-BE49-F238E27FC236}">
                    <a16:creationId xmlns:a16="http://schemas.microsoft.com/office/drawing/2014/main" id="{766949BD-870B-EB33-DFF5-6D49FB3D92C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43087" y="5908489"/>
                <a:ext cx="1049868" cy="2275028"/>
              </a:xfrm>
              <a:prstGeom prst="round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22CFBDE2-EE8B-CE25-5622-E05A73D060A0}"/>
                </a:ext>
              </a:extLst>
            </p:cNvPr>
            <p:cNvSpPr/>
            <p:nvPr/>
          </p:nvSpPr>
          <p:spPr bwMode="auto">
            <a:xfrm>
              <a:off x="4575839" y="6488645"/>
              <a:ext cx="964865" cy="236005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CC506B81-B149-73A2-852E-68981B63F2C5}"/>
              </a:ext>
            </a:extLst>
          </p:cNvPr>
          <p:cNvGrpSpPr/>
          <p:nvPr/>
        </p:nvGrpSpPr>
        <p:grpSpPr>
          <a:xfrm>
            <a:off x="5466639" y="6383432"/>
            <a:ext cx="1183361" cy="2430160"/>
            <a:chOff x="5466639" y="6383432"/>
            <a:chExt cx="1183361" cy="2430160"/>
          </a:xfrm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7288DD5A-DADA-8E44-EC0D-F7B99B7DEC66}"/>
                </a:ext>
              </a:extLst>
            </p:cNvPr>
            <p:cNvGrpSpPr/>
            <p:nvPr/>
          </p:nvGrpSpPr>
          <p:grpSpPr>
            <a:xfrm>
              <a:off x="5466639" y="6383432"/>
              <a:ext cx="1183361" cy="2430160"/>
              <a:chOff x="3463524" y="5493484"/>
              <a:chExt cx="1183361" cy="2430160"/>
            </a:xfrm>
          </p:grpSpPr>
          <p:pic>
            <p:nvPicPr>
              <p:cNvPr id="40" name="Picture 39">
                <a:extLst>
                  <a:ext uri="{FF2B5EF4-FFF2-40B4-BE49-F238E27FC236}">
                    <a16:creationId xmlns:a16="http://schemas.microsoft.com/office/drawing/2014/main" id="{E74C1BF5-7BBE-57C8-61F7-85E8E557AFE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3463524" y="5493484"/>
                <a:ext cx="1183361" cy="2430160"/>
              </a:xfrm>
              <a:prstGeom prst="roundRect">
                <a:avLst/>
              </a:prstGeom>
            </p:spPr>
          </p:pic>
          <p:pic>
            <p:nvPicPr>
              <p:cNvPr id="1026" name="Picture 2">
                <a:extLst>
                  <a:ext uri="{FF2B5EF4-FFF2-40B4-BE49-F238E27FC236}">
                    <a16:creationId xmlns:a16="http://schemas.microsoft.com/office/drawing/2014/main" id="{E958303F-75E5-9240-394A-CFF9D503018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22648" y="5543858"/>
                <a:ext cx="1073437" cy="2326101"/>
              </a:xfrm>
              <a:prstGeom prst="round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F355D3E5-0960-5591-5719-AC5FFB07CF5B}"/>
                </a:ext>
              </a:extLst>
            </p:cNvPr>
            <p:cNvSpPr/>
            <p:nvPr/>
          </p:nvSpPr>
          <p:spPr bwMode="auto">
            <a:xfrm>
              <a:off x="6369049" y="6828927"/>
              <a:ext cx="226441" cy="240653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040" name="TextBox 1039">
            <a:extLst>
              <a:ext uri="{FF2B5EF4-FFF2-40B4-BE49-F238E27FC236}">
                <a16:creationId xmlns:a16="http://schemas.microsoft.com/office/drawing/2014/main" id="{90DBB860-A321-A713-0591-D3DFB37A94A4}"/>
              </a:ext>
            </a:extLst>
          </p:cNvPr>
          <p:cNvSpPr txBox="1"/>
          <p:nvPr/>
        </p:nvSpPr>
        <p:spPr>
          <a:xfrm>
            <a:off x="174276" y="2228081"/>
            <a:ext cx="277186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 algn="l">
              <a:buAutoNum type="arabicPeriod"/>
            </a:pPr>
            <a:r>
              <a:rPr lang="ru-RU" sz="1200" dirty="0">
                <a:solidFill>
                  <a:schemeClr val="tx1"/>
                </a:solidFill>
                <a:latin typeface="Fira Sans" panose="020B0503050000020004" pitchFamily="34" charset="0"/>
              </a:rPr>
              <a:t>Відкрийте </a:t>
            </a:r>
            <a:r>
              <a:rPr lang="ru-RU" sz="1200" b="1" dirty="0">
                <a:solidFill>
                  <a:schemeClr val="tx1"/>
                </a:solidFill>
                <a:latin typeface="Fira Sans" panose="020B0503050000020004" pitchFamily="34" charset="0"/>
              </a:rPr>
              <a:t>Налаштування</a:t>
            </a:r>
          </a:p>
          <a:p>
            <a:pPr marL="228600" indent="-228600" algn="l">
              <a:buAutoNum type="arabicPeriod"/>
            </a:pPr>
            <a:r>
              <a:rPr lang="ru-RU" sz="1200" dirty="0">
                <a:solidFill>
                  <a:schemeClr val="tx1"/>
                </a:solidFill>
                <a:latin typeface="Fira Sans" panose="020B0503050000020004" pitchFamily="34" charset="0"/>
              </a:rPr>
              <a:t>Натисніть </a:t>
            </a:r>
            <a:r>
              <a:rPr lang="en-US" sz="1200" b="1" dirty="0">
                <a:solidFill>
                  <a:schemeClr val="tx1"/>
                </a:solidFill>
                <a:latin typeface="Fira Sans" panose="020B0503050000020004" pitchFamily="34" charset="0"/>
              </a:rPr>
              <a:t>App Store</a:t>
            </a:r>
          </a:p>
          <a:p>
            <a:pPr marL="228600" indent="-228600" algn="l">
              <a:buAutoNum type="arabicPeriod"/>
            </a:pPr>
            <a:r>
              <a:rPr lang="ru-RU" sz="1200" dirty="0">
                <a:solidFill>
                  <a:schemeClr val="tx1"/>
                </a:solidFill>
                <a:latin typeface="Fira Sans" panose="020B0503050000020004" pitchFamily="34" charset="0"/>
              </a:rPr>
              <a:t>Увімкніть </a:t>
            </a:r>
            <a:r>
              <a:rPr lang="ru-RU" sz="1200" b="1" dirty="0">
                <a:solidFill>
                  <a:schemeClr val="tx1"/>
                </a:solidFill>
                <a:latin typeface="Fira Sans" panose="020B0503050000020004" pitchFamily="34" charset="0"/>
              </a:rPr>
              <a:t>Автооновлення додатків</a:t>
            </a:r>
          </a:p>
        </p:txBody>
      </p:sp>
      <p:grpSp>
        <p:nvGrpSpPr>
          <p:cNvPr id="1047" name="Group 1046">
            <a:extLst>
              <a:ext uri="{FF2B5EF4-FFF2-40B4-BE49-F238E27FC236}">
                <a16:creationId xmlns:a16="http://schemas.microsoft.com/office/drawing/2014/main" id="{98A2D897-9448-8C18-B6EA-1567F5E00355}"/>
              </a:ext>
            </a:extLst>
          </p:cNvPr>
          <p:cNvGrpSpPr/>
          <p:nvPr/>
        </p:nvGrpSpPr>
        <p:grpSpPr>
          <a:xfrm>
            <a:off x="3006324" y="1728376"/>
            <a:ext cx="1183361" cy="2430160"/>
            <a:chOff x="3006324" y="1728376"/>
            <a:chExt cx="1183361" cy="2430160"/>
          </a:xfrm>
        </p:grpSpPr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5ADCA0C5-184A-5459-B8C7-794D8DD6A09B}"/>
                </a:ext>
              </a:extLst>
            </p:cNvPr>
            <p:cNvGrpSpPr/>
            <p:nvPr/>
          </p:nvGrpSpPr>
          <p:grpSpPr>
            <a:xfrm>
              <a:off x="3006324" y="1728376"/>
              <a:ext cx="1183361" cy="2430160"/>
              <a:chOff x="3006324" y="5036284"/>
              <a:chExt cx="1183361" cy="2430160"/>
            </a:xfrm>
          </p:grpSpPr>
          <p:pic>
            <p:nvPicPr>
              <p:cNvPr id="58" name="Picture 57">
                <a:extLst>
                  <a:ext uri="{FF2B5EF4-FFF2-40B4-BE49-F238E27FC236}">
                    <a16:creationId xmlns:a16="http://schemas.microsoft.com/office/drawing/2014/main" id="{CDBBC306-D689-5D32-73FA-7E6B7E9E3F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3006324" y="5036284"/>
                <a:ext cx="1183361" cy="2430160"/>
              </a:xfrm>
              <a:prstGeom prst="roundRect">
                <a:avLst/>
              </a:prstGeom>
            </p:spPr>
          </p:pic>
          <p:sp>
            <p:nvSpPr>
              <p:cNvPr id="57" name="Oval 56">
                <a:extLst>
                  <a:ext uri="{FF2B5EF4-FFF2-40B4-BE49-F238E27FC236}">
                    <a16:creationId xmlns:a16="http://schemas.microsoft.com/office/drawing/2014/main" id="{9E2C3793-EF48-B692-91EB-ACDF6A69B40A}"/>
                  </a:ext>
                </a:extLst>
              </p:cNvPr>
              <p:cNvSpPr/>
              <p:nvPr/>
            </p:nvSpPr>
            <p:spPr bwMode="auto">
              <a:xfrm>
                <a:off x="3698809" y="5830244"/>
                <a:ext cx="255240" cy="242445"/>
              </a:xfrm>
              <a:prstGeom prst="ellipse">
                <a:avLst/>
              </a:prstGeom>
              <a:noFill/>
              <a:ln w="3810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18288" bIns="18288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</p:grpSp>
        <p:pic>
          <p:nvPicPr>
            <p:cNvPr id="1045" name="Picture 20">
              <a:extLst>
                <a:ext uri="{FF2B5EF4-FFF2-40B4-BE49-F238E27FC236}">
                  <a16:creationId xmlns:a16="http://schemas.microsoft.com/office/drawing/2014/main" id="{B8074CA0-EF87-81C5-67FE-83FE3B25093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61595" y="1777693"/>
              <a:ext cx="1073808" cy="2324407"/>
            </a:xfrm>
            <a:prstGeom prst="round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48" name="Oval 1047">
            <a:extLst>
              <a:ext uri="{FF2B5EF4-FFF2-40B4-BE49-F238E27FC236}">
                <a16:creationId xmlns:a16="http://schemas.microsoft.com/office/drawing/2014/main" id="{8AD44D82-B2E6-1632-58C8-CDBD2717A37A}"/>
              </a:ext>
            </a:extLst>
          </p:cNvPr>
          <p:cNvSpPr/>
          <p:nvPr/>
        </p:nvSpPr>
        <p:spPr bwMode="auto">
          <a:xfrm>
            <a:off x="3309098" y="2730423"/>
            <a:ext cx="333942" cy="323927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046" name="Group 1045">
            <a:extLst>
              <a:ext uri="{FF2B5EF4-FFF2-40B4-BE49-F238E27FC236}">
                <a16:creationId xmlns:a16="http://schemas.microsoft.com/office/drawing/2014/main" id="{D27C238C-C902-CD59-056C-9ABFCAA5E26D}"/>
              </a:ext>
            </a:extLst>
          </p:cNvPr>
          <p:cNvGrpSpPr/>
          <p:nvPr/>
        </p:nvGrpSpPr>
        <p:grpSpPr>
          <a:xfrm>
            <a:off x="3826429" y="2128742"/>
            <a:ext cx="1183361" cy="2430160"/>
            <a:chOff x="3826429" y="2128742"/>
            <a:chExt cx="1183361" cy="2430160"/>
          </a:xfrm>
        </p:grpSpPr>
        <p:pic>
          <p:nvPicPr>
            <p:cNvPr id="63" name="Picture 62">
              <a:extLst>
                <a:ext uri="{FF2B5EF4-FFF2-40B4-BE49-F238E27FC236}">
                  <a16:creationId xmlns:a16="http://schemas.microsoft.com/office/drawing/2014/main" id="{904D43D1-888C-3A27-2E05-6276388FC0B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826429" y="2128742"/>
              <a:ext cx="1183361" cy="2430160"/>
            </a:xfrm>
            <a:prstGeom prst="roundRect">
              <a:avLst/>
            </a:prstGeom>
          </p:spPr>
        </p:pic>
        <p:pic>
          <p:nvPicPr>
            <p:cNvPr id="1041" name="Picture 12">
              <a:extLst>
                <a:ext uri="{FF2B5EF4-FFF2-40B4-BE49-F238E27FC236}">
                  <a16:creationId xmlns:a16="http://schemas.microsoft.com/office/drawing/2014/main" id="{62AE96FA-CFB0-F683-4DE1-66C736536D4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92428" y="2186198"/>
              <a:ext cx="1061593" cy="2297965"/>
            </a:xfrm>
            <a:prstGeom prst="round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49" name="Oval 1048">
            <a:extLst>
              <a:ext uri="{FF2B5EF4-FFF2-40B4-BE49-F238E27FC236}">
                <a16:creationId xmlns:a16="http://schemas.microsoft.com/office/drawing/2014/main" id="{1291A38B-42E1-7487-762F-613872657352}"/>
              </a:ext>
            </a:extLst>
          </p:cNvPr>
          <p:cNvSpPr/>
          <p:nvPr/>
        </p:nvSpPr>
        <p:spPr bwMode="auto">
          <a:xfrm>
            <a:off x="3881136" y="2441247"/>
            <a:ext cx="1128653" cy="179257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050" name="Group 1049">
            <a:extLst>
              <a:ext uri="{FF2B5EF4-FFF2-40B4-BE49-F238E27FC236}">
                <a16:creationId xmlns:a16="http://schemas.microsoft.com/office/drawing/2014/main" id="{8A6C3350-5080-CDE1-7632-E72AF64F003F}"/>
              </a:ext>
            </a:extLst>
          </p:cNvPr>
          <p:cNvGrpSpPr/>
          <p:nvPr/>
        </p:nvGrpSpPr>
        <p:grpSpPr>
          <a:xfrm>
            <a:off x="4646534" y="2529108"/>
            <a:ext cx="1183361" cy="2430160"/>
            <a:chOff x="4646534" y="2529108"/>
            <a:chExt cx="1183361" cy="2430160"/>
          </a:xfrm>
        </p:grpSpPr>
        <p:pic>
          <p:nvPicPr>
            <p:cNvPr id="1031" name="Picture 1030">
              <a:extLst>
                <a:ext uri="{FF2B5EF4-FFF2-40B4-BE49-F238E27FC236}">
                  <a16:creationId xmlns:a16="http://schemas.microsoft.com/office/drawing/2014/main" id="{C627BC50-7696-8224-BC3B-16E80255638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646534" y="2529108"/>
              <a:ext cx="1183361" cy="2430160"/>
            </a:xfrm>
            <a:prstGeom prst="roundRect">
              <a:avLst/>
            </a:prstGeom>
          </p:spPr>
        </p:pic>
        <p:pic>
          <p:nvPicPr>
            <p:cNvPr id="1044" name="Picture 18">
              <a:extLst>
                <a:ext uri="{FF2B5EF4-FFF2-40B4-BE49-F238E27FC236}">
                  <a16:creationId xmlns:a16="http://schemas.microsoft.com/office/drawing/2014/main" id="{7910BD21-1D23-B7CB-51BD-42F9F6D31B5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08155" y="2575717"/>
              <a:ext cx="1086168" cy="2351162"/>
            </a:xfrm>
            <a:prstGeom prst="round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51" name="Oval 1050">
            <a:extLst>
              <a:ext uri="{FF2B5EF4-FFF2-40B4-BE49-F238E27FC236}">
                <a16:creationId xmlns:a16="http://schemas.microsoft.com/office/drawing/2014/main" id="{92B35A18-8B4C-B0BC-E2F7-223A34259FF9}"/>
              </a:ext>
            </a:extLst>
          </p:cNvPr>
          <p:cNvSpPr/>
          <p:nvPr/>
        </p:nvSpPr>
        <p:spPr bwMode="auto">
          <a:xfrm>
            <a:off x="4673863" y="3751298"/>
            <a:ext cx="1128653" cy="243062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95883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880F51-A6A5-7244-575D-BF3175E32711}"/>
              </a:ext>
            </a:extLst>
          </p:cNvPr>
          <p:cNvSpPr/>
          <p:nvPr/>
        </p:nvSpPr>
        <p:spPr bwMode="auto">
          <a:xfrm>
            <a:off x="-67569" y="-10248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7082759-064D-BD97-C9C7-6B426C7D52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4009" y="8682623"/>
            <a:ext cx="1073746" cy="557636"/>
          </a:xfrm>
          <a:prstGeom prst="rect">
            <a:avLst/>
          </a:prstGeom>
        </p:spPr>
      </p:pic>
      <p:grpSp>
        <p:nvGrpSpPr>
          <p:cNvPr id="64" name="Group 18">
            <a:extLst>
              <a:ext uri="{FF2B5EF4-FFF2-40B4-BE49-F238E27FC236}">
                <a16:creationId xmlns:a16="http://schemas.microsoft.com/office/drawing/2014/main" id="{D9341741-A76C-95EB-0538-7BB1EB314405}"/>
              </a:ext>
            </a:extLst>
          </p:cNvPr>
          <p:cNvGrpSpPr>
            <a:grpSpLocks noChangeAspect="1"/>
          </p:cNvGrpSpPr>
          <p:nvPr/>
        </p:nvGrpSpPr>
        <p:grpSpPr>
          <a:xfrm>
            <a:off x="3550476" y="6274234"/>
            <a:ext cx="1976323" cy="1316630"/>
            <a:chOff x="-3936144" y="-2306834"/>
            <a:chExt cx="4881103" cy="3251793"/>
          </a:xfrm>
        </p:grpSpPr>
        <p:sp>
          <p:nvSpPr>
            <p:cNvPr id="68" name="TextBox 21">
              <a:extLst>
                <a:ext uri="{FF2B5EF4-FFF2-40B4-BE49-F238E27FC236}">
                  <a16:creationId xmlns:a16="http://schemas.microsoft.com/office/drawing/2014/main" id="{512932E0-8D4B-8D50-711D-2F49C8A67F9F}"/>
                </a:ext>
              </a:extLst>
            </p:cNvPr>
            <p:cNvSpPr txBox="1"/>
            <p:nvPr/>
          </p:nvSpPr>
          <p:spPr>
            <a:xfrm>
              <a:off x="0" y="-154295"/>
              <a:ext cx="944959" cy="1099254"/>
            </a:xfrm>
            <a:prstGeom prst="rect">
              <a:avLst/>
            </a:prstGeom>
          </p:spPr>
          <p:txBody>
            <a:bodyPr lIns="19483" tIns="19483" rIns="19483" bIns="19483" rtlCol="0" anchor="ctr"/>
            <a:lstStyle/>
            <a:p>
              <a:pPr>
                <a:lnSpc>
                  <a:spcPts val="805"/>
                </a:lnSpc>
              </a:pPr>
              <a:endParaRPr sz="525"/>
            </a:p>
          </p:txBody>
        </p:sp>
        <p:sp>
          <p:nvSpPr>
            <p:cNvPr id="66" name="Freeform 22">
              <a:extLst>
                <a:ext uri="{FF2B5EF4-FFF2-40B4-BE49-F238E27FC236}">
                  <a16:creationId xmlns:a16="http://schemas.microsoft.com/office/drawing/2014/main" id="{256BD47D-C2AB-3341-1B6E-3424400F583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3936144" y="-2306834"/>
              <a:ext cx="691059" cy="903348"/>
            </a:xfrm>
            <a:custGeom>
              <a:avLst/>
              <a:gdLst/>
              <a:ahLst/>
              <a:cxnLst/>
              <a:rect l="l" t="t" r="r" b="b"/>
              <a:pathLst>
                <a:path w="586055" h="766085">
                  <a:moveTo>
                    <a:pt x="0" y="0"/>
                  </a:moveTo>
                  <a:lnTo>
                    <a:pt x="586055" y="0"/>
                  </a:lnTo>
                  <a:lnTo>
                    <a:pt x="586055" y="766085"/>
                  </a:lnTo>
                  <a:lnTo>
                    <a:pt x="0" y="766085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7AF1E9B0-C5D3-C394-4D73-9AB5CCA6BFBA}"/>
              </a:ext>
            </a:extLst>
          </p:cNvPr>
          <p:cNvGrpSpPr/>
          <p:nvPr/>
        </p:nvGrpSpPr>
        <p:grpSpPr>
          <a:xfrm>
            <a:off x="-146310" y="316634"/>
            <a:ext cx="5117347" cy="1865379"/>
            <a:chOff x="-256998" y="1273158"/>
            <a:chExt cx="5117347" cy="1886106"/>
          </a:xfrm>
        </p:grpSpPr>
        <p:sp>
          <p:nvSpPr>
            <p:cNvPr id="51" name="TextBox 33">
              <a:extLst>
                <a:ext uri="{FF2B5EF4-FFF2-40B4-BE49-F238E27FC236}">
                  <a16:creationId xmlns:a16="http://schemas.microsoft.com/office/drawing/2014/main" id="{AD165D3D-8493-469A-16B1-C458DB625BD6}"/>
                </a:ext>
              </a:extLst>
            </p:cNvPr>
            <p:cNvSpPr txBox="1"/>
            <p:nvPr/>
          </p:nvSpPr>
          <p:spPr>
            <a:xfrm>
              <a:off x="370430" y="2037476"/>
              <a:ext cx="4489919" cy="224036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lnSpc>
                  <a:spcPts val="1638"/>
                </a:lnSpc>
              </a:pPr>
              <a:r>
                <a:rPr lang="en-US" sz="2400" b="1">
                  <a:solidFill>
                    <a:srgbClr val="FFFFFF"/>
                  </a:solidFill>
                  <a:latin typeface="Fira Sans Bold"/>
                </a:rPr>
                <a:t>Navigate your homepage…</a:t>
              </a: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F4ECC606-96E5-141A-E55D-10C1485A15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01" t="26893" r="44493" b="48653"/>
            <a:stretch/>
          </p:blipFill>
          <p:spPr>
            <a:xfrm flipH="1">
              <a:off x="-256998" y="1273158"/>
              <a:ext cx="4489919" cy="1886106"/>
            </a:xfrm>
            <a:custGeom>
              <a:avLst/>
              <a:gdLst>
                <a:gd name="connsiteX0" fmla="*/ 5762061 w 5962266"/>
                <a:gd name="connsiteY0" fmla="*/ 0 h 1886106"/>
                <a:gd name="connsiteX1" fmla="*/ 321348 w 5962266"/>
                <a:gd name="connsiteY1" fmla="*/ 0 h 1886106"/>
                <a:gd name="connsiteX2" fmla="*/ 0 w 5962266"/>
                <a:gd name="connsiteY2" fmla="*/ 258770 h 1886106"/>
                <a:gd name="connsiteX3" fmla="*/ 0 w 5962266"/>
                <a:gd name="connsiteY3" fmla="*/ 1627336 h 1886106"/>
                <a:gd name="connsiteX4" fmla="*/ 94118 w 5962266"/>
                <a:gd name="connsiteY4" fmla="*/ 1810316 h 1886106"/>
                <a:gd name="connsiteX5" fmla="*/ 321348 w 5962266"/>
                <a:gd name="connsiteY5" fmla="*/ 1886106 h 1886106"/>
                <a:gd name="connsiteX6" fmla="*/ 5762061 w 5962266"/>
                <a:gd name="connsiteY6" fmla="*/ 1886106 h 1886106"/>
                <a:gd name="connsiteX7" fmla="*/ 5941728 w 5962266"/>
                <a:gd name="connsiteY7" fmla="*/ 1841912 h 1886106"/>
                <a:gd name="connsiteX8" fmla="*/ 5962266 w 5962266"/>
                <a:gd name="connsiteY8" fmla="*/ 1828266 h 1886106"/>
                <a:gd name="connsiteX9" fmla="*/ 5962266 w 5962266"/>
                <a:gd name="connsiteY9" fmla="*/ 57840 h 1886106"/>
                <a:gd name="connsiteX10" fmla="*/ 5941728 w 5962266"/>
                <a:gd name="connsiteY10" fmla="*/ 44195 h 1886106"/>
                <a:gd name="connsiteX11" fmla="*/ 5762061 w 5962266"/>
                <a:gd name="connsiteY11" fmla="*/ 0 h 1886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962266" h="1886106">
                  <a:moveTo>
                    <a:pt x="5762061" y="0"/>
                  </a:moveTo>
                  <a:lnTo>
                    <a:pt x="321348" y="0"/>
                  </a:lnTo>
                  <a:cubicBezTo>
                    <a:pt x="143875" y="0"/>
                    <a:pt x="0" y="115857"/>
                    <a:pt x="0" y="258770"/>
                  </a:cubicBezTo>
                  <a:lnTo>
                    <a:pt x="0" y="1627336"/>
                  </a:lnTo>
                  <a:cubicBezTo>
                    <a:pt x="0" y="1695966"/>
                    <a:pt x="33853" y="1761787"/>
                    <a:pt x="94118" y="1810316"/>
                  </a:cubicBezTo>
                  <a:cubicBezTo>
                    <a:pt x="154383" y="1858846"/>
                    <a:pt x="236122" y="1886106"/>
                    <a:pt x="321348" y="1886106"/>
                  </a:cubicBezTo>
                  <a:lnTo>
                    <a:pt x="5762061" y="1886106"/>
                  </a:lnTo>
                  <a:cubicBezTo>
                    <a:pt x="5828613" y="1886106"/>
                    <a:pt x="5890440" y="1869814"/>
                    <a:pt x="5941728" y="1841912"/>
                  </a:cubicBezTo>
                  <a:lnTo>
                    <a:pt x="5962266" y="1828266"/>
                  </a:lnTo>
                  <a:lnTo>
                    <a:pt x="5962266" y="57840"/>
                  </a:lnTo>
                  <a:lnTo>
                    <a:pt x="5941728" y="44195"/>
                  </a:lnTo>
                  <a:cubicBezTo>
                    <a:pt x="5890440" y="16293"/>
                    <a:pt x="5828613" y="0"/>
                    <a:pt x="5762061" y="0"/>
                  </a:cubicBezTo>
                  <a:close/>
                </a:path>
              </a:pathLst>
            </a:custGeom>
          </p:spPr>
        </p:pic>
        <p:sp>
          <p:nvSpPr>
            <p:cNvPr id="18" name="Freeform 3">
              <a:extLst>
                <a:ext uri="{FF2B5EF4-FFF2-40B4-BE49-F238E27FC236}">
                  <a16:creationId xmlns:a16="http://schemas.microsoft.com/office/drawing/2014/main" id="{9B3D4770-4EB1-EA66-E640-3306F83324FD}"/>
                </a:ext>
              </a:extLst>
            </p:cNvPr>
            <p:cNvSpPr/>
            <p:nvPr/>
          </p:nvSpPr>
          <p:spPr>
            <a:xfrm>
              <a:off x="-256782" y="1273158"/>
              <a:ext cx="4489704" cy="1886106"/>
            </a:xfrm>
            <a:custGeom>
              <a:avLst/>
              <a:gdLst/>
              <a:ahLst/>
              <a:cxnLst/>
              <a:rect l="l" t="t" r="r" b="b"/>
              <a:pathLst>
                <a:path w="812800" h="312942">
                  <a:moveTo>
                    <a:pt x="42935" y="0"/>
                  </a:moveTo>
                  <a:lnTo>
                    <a:pt x="769865" y="0"/>
                  </a:lnTo>
                  <a:cubicBezTo>
                    <a:pt x="793577" y="0"/>
                    <a:pt x="812800" y="19223"/>
                    <a:pt x="812800" y="42935"/>
                  </a:cubicBezTo>
                  <a:lnTo>
                    <a:pt x="812800" y="270007"/>
                  </a:lnTo>
                  <a:cubicBezTo>
                    <a:pt x="812800" y="281394"/>
                    <a:pt x="808277" y="292315"/>
                    <a:pt x="800225" y="300367"/>
                  </a:cubicBezTo>
                  <a:cubicBezTo>
                    <a:pt x="792173" y="308419"/>
                    <a:pt x="781252" y="312942"/>
                    <a:pt x="769865" y="312942"/>
                  </a:cubicBezTo>
                  <a:lnTo>
                    <a:pt x="42935" y="312942"/>
                  </a:lnTo>
                  <a:cubicBezTo>
                    <a:pt x="19223" y="312942"/>
                    <a:pt x="0" y="293719"/>
                    <a:pt x="0" y="270007"/>
                  </a:cubicBezTo>
                  <a:lnTo>
                    <a:pt x="0" y="42935"/>
                  </a:lnTo>
                  <a:cubicBezTo>
                    <a:pt x="0" y="19223"/>
                    <a:pt x="19223" y="0"/>
                    <a:pt x="42935" y="0"/>
                  </a:cubicBezTo>
                  <a:close/>
                </a:path>
              </a:pathLst>
            </a:custGeom>
            <a:solidFill>
              <a:schemeClr val="accent3">
                <a:alpha val="70000"/>
              </a:schemeClr>
            </a:solidFill>
          </p:spPr>
          <p:txBody>
            <a:bodyPr/>
            <a:lstStyle/>
            <a:p>
              <a:endParaRPr lang="en-US" sz="5400" b="1">
                <a:latin typeface="Fira Sans" panose="020B0503050000020004" pitchFamily="34" charset="0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CB58F9A6-A42B-781F-1D5A-B59576AA6494}"/>
                </a:ext>
              </a:extLst>
            </p:cNvPr>
            <p:cNvSpPr txBox="1"/>
            <p:nvPr/>
          </p:nvSpPr>
          <p:spPr>
            <a:xfrm>
              <a:off x="15248" y="1333398"/>
              <a:ext cx="4147484" cy="17738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ru-RU" sz="3600" b="1" i="1" dirty="0">
                  <a:solidFill>
                    <a:schemeClr val="bg1"/>
                  </a:solidFill>
                  <a:latin typeface="Fira Sans" panose="020B0503050000020004" pitchFamily="34" charset="0"/>
                </a:rPr>
                <a:t>Ознайомтеся з </a:t>
              </a:r>
              <a:r>
                <a:rPr lang="uk-UA" sz="3600" b="1" i="1" dirty="0">
                  <a:solidFill>
                    <a:schemeClr val="bg1"/>
                  </a:solidFill>
                  <a:latin typeface="Fira Sans" panose="020B0503050000020004" pitchFamily="34" charset="0"/>
                </a:rPr>
                <a:t>В</a:t>
              </a:r>
              <a:r>
                <a:rPr lang="ru-RU" sz="3600" b="1" i="1" dirty="0">
                  <a:solidFill>
                    <a:schemeClr val="bg1"/>
                  </a:solidFill>
                  <a:latin typeface="Fira Sans" panose="020B0503050000020004" pitchFamily="34" charset="0"/>
                </a:rPr>
                <a:t>ашою головною сторінкою…</a:t>
              </a:r>
              <a:endParaRPr lang="en-US" sz="3600" b="1" i="1" dirty="0">
                <a:solidFill>
                  <a:schemeClr val="bg1"/>
                </a:solidFill>
                <a:latin typeface="Fira Sans" panose="020B0503050000020004" pitchFamily="34" charset="0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5D985844-5007-4D31-EE6B-271CF4FC6697}"/>
              </a:ext>
            </a:extLst>
          </p:cNvPr>
          <p:cNvGrpSpPr/>
          <p:nvPr/>
        </p:nvGrpSpPr>
        <p:grpSpPr>
          <a:xfrm>
            <a:off x="3475112" y="5510453"/>
            <a:ext cx="3300488" cy="830997"/>
            <a:chOff x="3475112" y="5547998"/>
            <a:chExt cx="3300488" cy="830997"/>
          </a:xfrm>
        </p:grpSpPr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1801896B-D4A4-9402-BE85-7614B04B6786}"/>
                </a:ext>
              </a:extLst>
            </p:cNvPr>
            <p:cNvSpPr txBox="1"/>
            <p:nvPr/>
          </p:nvSpPr>
          <p:spPr>
            <a:xfrm>
              <a:off x="3985225" y="5547998"/>
              <a:ext cx="2790375" cy="830997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l">
                <a:spcAft>
                  <a:spcPts val="1200"/>
                </a:spcAft>
              </a:pPr>
              <a:r>
                <a:rPr lang="ru-RU" sz="1600" b="1" i="1" dirty="0">
                  <a:latin typeface="+mj-lt"/>
                  <a:cs typeface="Arial"/>
                </a:rPr>
                <a:t>Перегляд Вашого профілю та оновлення номера телефону</a:t>
              </a:r>
              <a:endParaRPr lang="en-US" sz="1600" i="1" dirty="0">
                <a:latin typeface="+mj-lt"/>
                <a:cs typeface="Arial"/>
              </a:endParaRPr>
            </a:p>
          </p:txBody>
        </p:sp>
        <p:pic>
          <p:nvPicPr>
            <p:cNvPr id="21" name="Picture 20" descr="A blue circle with a black background&#10;&#10;Description automatically generated">
              <a:extLst>
                <a:ext uri="{FF2B5EF4-FFF2-40B4-BE49-F238E27FC236}">
                  <a16:creationId xmlns:a16="http://schemas.microsoft.com/office/drawing/2014/main" id="{C42C4BFE-D913-19B8-1DCD-69CC56E1887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475112" y="5568668"/>
              <a:ext cx="512230" cy="507996"/>
            </a:xfrm>
            <a:prstGeom prst="rect">
              <a:avLst/>
            </a:prstGeom>
          </p:spPr>
        </p:pic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33FBDF30-F486-DB99-1720-AB49F8CD8902}"/>
              </a:ext>
            </a:extLst>
          </p:cNvPr>
          <p:cNvSpPr txBox="1"/>
          <p:nvPr/>
        </p:nvSpPr>
        <p:spPr>
          <a:xfrm>
            <a:off x="4057718" y="3626100"/>
            <a:ext cx="2555554" cy="58477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>
              <a:spcAft>
                <a:spcPts val="1200"/>
              </a:spcAft>
            </a:pPr>
            <a:r>
              <a:rPr lang="ru-RU" sz="1600" b="1" i="1" dirty="0">
                <a:latin typeface="+mj-lt"/>
                <a:cs typeface="Arial"/>
              </a:rPr>
              <a:t>Сповіщення в реальному часі</a:t>
            </a:r>
            <a:endParaRPr lang="en-US" sz="1600" i="1" dirty="0">
              <a:latin typeface="+mj-lt"/>
              <a:cs typeface="Arial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CBC6B7C-0997-6994-042F-1E6EEE98B99B}"/>
              </a:ext>
            </a:extLst>
          </p:cNvPr>
          <p:cNvGrpSpPr/>
          <p:nvPr/>
        </p:nvGrpSpPr>
        <p:grpSpPr>
          <a:xfrm>
            <a:off x="3477229" y="4853025"/>
            <a:ext cx="3429163" cy="593047"/>
            <a:chOff x="3477229" y="4860010"/>
            <a:chExt cx="3429163" cy="593047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9648B534-864E-6BCD-9EAA-2E9D6279B097}"/>
                </a:ext>
              </a:extLst>
            </p:cNvPr>
            <p:cNvSpPr txBox="1"/>
            <p:nvPr/>
          </p:nvSpPr>
          <p:spPr>
            <a:xfrm>
              <a:off x="3976864" y="4868282"/>
              <a:ext cx="2929528" cy="584775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l">
                <a:spcAft>
                  <a:spcPts val="1200"/>
                </a:spcAft>
              </a:pPr>
              <a:r>
                <a:rPr lang="uk-UA" sz="1600" b="1" dirty="0">
                  <a:latin typeface="+mj-lt"/>
                  <a:cs typeface="Arial"/>
                </a:rPr>
                <a:t>Перегляд призначених Вам клієнтів</a:t>
              </a:r>
              <a:endParaRPr lang="en-US" sz="1600" i="1" dirty="0">
                <a:latin typeface="+mj-lt"/>
                <a:cs typeface="Arial"/>
              </a:endParaRPr>
            </a:p>
          </p:txBody>
        </p:sp>
        <p:pic>
          <p:nvPicPr>
            <p:cNvPr id="46" name="Picture 45" descr="A blue circle with black and grey outline of people&#10;&#10;Description automatically generated">
              <a:extLst>
                <a:ext uri="{FF2B5EF4-FFF2-40B4-BE49-F238E27FC236}">
                  <a16:creationId xmlns:a16="http://schemas.microsoft.com/office/drawing/2014/main" id="{B4157870-0478-F18A-435C-6038809B8A7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477229" y="4860010"/>
              <a:ext cx="507996" cy="507996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31DD0402-A793-3224-B294-FBD14471ECC6}"/>
              </a:ext>
            </a:extLst>
          </p:cNvPr>
          <p:cNvGrpSpPr/>
          <p:nvPr/>
        </p:nvGrpSpPr>
        <p:grpSpPr>
          <a:xfrm>
            <a:off x="3476412" y="6837619"/>
            <a:ext cx="3136860" cy="584775"/>
            <a:chOff x="3396497" y="6241966"/>
            <a:chExt cx="3136860" cy="584775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8BED727F-4103-F52F-279E-9F39DB6B81BD}"/>
                </a:ext>
              </a:extLst>
            </p:cNvPr>
            <p:cNvSpPr txBox="1"/>
            <p:nvPr/>
          </p:nvSpPr>
          <p:spPr>
            <a:xfrm>
              <a:off x="3923329" y="6241966"/>
              <a:ext cx="2610028" cy="584775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l">
                <a:spcAft>
                  <a:spcPts val="1200"/>
                </a:spcAft>
              </a:pPr>
              <a:r>
                <a:rPr lang="ru-RU" sz="1600" b="1" dirty="0">
                  <a:latin typeface="+mj-lt"/>
                  <a:cs typeface="Arial"/>
                </a:rPr>
                <a:t>Зв’язок зі службою підтримки </a:t>
              </a:r>
              <a:r>
                <a:rPr lang="en-US" sz="1600" b="1" dirty="0">
                  <a:latin typeface="+mj-lt"/>
                  <a:cs typeface="Arial"/>
                </a:rPr>
                <a:t>Help at Home</a:t>
              </a:r>
              <a:endParaRPr lang="en-US" sz="1600" i="1" dirty="0">
                <a:latin typeface="+mj-lt"/>
                <a:cs typeface="Arial"/>
              </a:endParaRPr>
            </a:p>
          </p:txBody>
        </p:sp>
        <p:pic>
          <p:nvPicPr>
            <p:cNvPr id="60" name="Picture 59" descr="A phone logo in a circle&#10;&#10;Description automatically generated">
              <a:extLst>
                <a:ext uri="{FF2B5EF4-FFF2-40B4-BE49-F238E27FC236}">
                  <a16:creationId xmlns:a16="http://schemas.microsoft.com/office/drawing/2014/main" id="{A2C8C99A-493B-A27B-8FDD-A425D5B7F4D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3396497" y="6289464"/>
              <a:ext cx="521332" cy="521332"/>
            </a:xfrm>
            <a:prstGeom prst="rect">
              <a:avLst/>
            </a:prstGeom>
          </p:spPr>
        </p:pic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114BD83B-8AC2-F743-3C63-C178005B7391}"/>
              </a:ext>
            </a:extLst>
          </p:cNvPr>
          <p:cNvSpPr txBox="1"/>
          <p:nvPr/>
        </p:nvSpPr>
        <p:spPr>
          <a:xfrm>
            <a:off x="3976864" y="6357592"/>
            <a:ext cx="2703854" cy="33855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>
              <a:spcAft>
                <a:spcPts val="1200"/>
              </a:spcAft>
            </a:pPr>
            <a:r>
              <a:rPr lang="uk-UA" sz="1600" b="1" i="1" dirty="0">
                <a:latin typeface="+mj-lt"/>
                <a:cs typeface="Arial"/>
              </a:rPr>
              <a:t>Перегляд Вашого розкладу</a:t>
            </a:r>
            <a:endParaRPr lang="en-US" sz="1600" i="1" dirty="0">
              <a:latin typeface="+mj-lt"/>
              <a:cs typeface="Arial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5A669A76-5F30-44A1-06C9-54228F892F3E}"/>
              </a:ext>
            </a:extLst>
          </p:cNvPr>
          <p:cNvGrpSpPr/>
          <p:nvPr/>
        </p:nvGrpSpPr>
        <p:grpSpPr>
          <a:xfrm>
            <a:off x="3477229" y="4226651"/>
            <a:ext cx="3354693" cy="584775"/>
            <a:chOff x="3324829" y="4074251"/>
            <a:chExt cx="3354693" cy="584775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0EDAF53C-4A3E-15E9-9B76-B03813E492C2}"/>
                </a:ext>
              </a:extLst>
            </p:cNvPr>
            <p:cNvSpPr txBox="1"/>
            <p:nvPr/>
          </p:nvSpPr>
          <p:spPr>
            <a:xfrm>
              <a:off x="3858932" y="4074251"/>
              <a:ext cx="2820590" cy="584775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l">
                <a:spcAft>
                  <a:spcPts val="1200"/>
                </a:spcAft>
              </a:pPr>
              <a:r>
                <a:rPr lang="ru-RU" sz="1600" b="1" dirty="0">
                  <a:latin typeface="+mj-lt"/>
                  <a:cs typeface="Arial"/>
                </a:rPr>
                <a:t>Перегляд і завантаження Ваших платіжних відомостей</a:t>
              </a:r>
              <a:endParaRPr lang="en-US" sz="1600" i="1" dirty="0">
                <a:latin typeface="+mj-lt"/>
                <a:cs typeface="Arial"/>
              </a:endParaRPr>
            </a:p>
          </p:txBody>
        </p:sp>
        <p:pic>
          <p:nvPicPr>
            <p:cNvPr id="43" name="Picture 42" descr="A black and white circle with a wallet and cards in it&#10;&#10;Description automatically generated">
              <a:extLst>
                <a:ext uri="{FF2B5EF4-FFF2-40B4-BE49-F238E27FC236}">
                  <a16:creationId xmlns:a16="http://schemas.microsoft.com/office/drawing/2014/main" id="{6293700D-54C0-2202-6500-D88BF46AAD4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3324829" y="4101518"/>
              <a:ext cx="507996" cy="507996"/>
            </a:xfrm>
            <a:prstGeom prst="rect">
              <a:avLst/>
            </a:prstGeom>
          </p:spPr>
        </p:pic>
      </p:grpSp>
      <p:pic>
        <p:nvPicPr>
          <p:cNvPr id="52" name="Picture 51">
            <a:extLst>
              <a:ext uri="{FF2B5EF4-FFF2-40B4-BE49-F238E27FC236}">
                <a16:creationId xmlns:a16="http://schemas.microsoft.com/office/drawing/2014/main" id="{DD77EDF2-66D2-608D-3766-CA324A500A0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468867" y="3654811"/>
            <a:ext cx="507997" cy="504632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04145203-BADB-524A-BD2D-20ED8A2D1EFD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471716" y="6235805"/>
            <a:ext cx="519021" cy="52133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C6CA904-9B58-AFC8-6E2A-1C3FD4BD8E26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32476" y="2670418"/>
            <a:ext cx="2820591" cy="5211764"/>
          </a:xfrm>
          <a:prstGeom prst="rect">
            <a:avLst/>
          </a:prstGeom>
        </p:spPr>
      </p:pic>
      <p:grpSp>
        <p:nvGrpSpPr>
          <p:cNvPr id="44" name="Group 16">
            <a:extLst>
              <a:ext uri="{FF2B5EF4-FFF2-40B4-BE49-F238E27FC236}">
                <a16:creationId xmlns:a16="http://schemas.microsoft.com/office/drawing/2014/main" id="{F57B4E21-4B37-AF53-4C25-0C1F34FB37F6}"/>
              </a:ext>
            </a:extLst>
          </p:cNvPr>
          <p:cNvGrpSpPr/>
          <p:nvPr/>
        </p:nvGrpSpPr>
        <p:grpSpPr>
          <a:xfrm>
            <a:off x="2653258" y="3102617"/>
            <a:ext cx="526591" cy="357561"/>
            <a:chOff x="0" y="0"/>
            <a:chExt cx="751051" cy="342834"/>
          </a:xfrm>
        </p:grpSpPr>
        <p:sp>
          <p:nvSpPr>
            <p:cNvPr id="45" name="Freeform 17">
              <a:extLst>
                <a:ext uri="{FF2B5EF4-FFF2-40B4-BE49-F238E27FC236}">
                  <a16:creationId xmlns:a16="http://schemas.microsoft.com/office/drawing/2014/main" id="{2ED3652B-F704-6C34-6A44-07BF1FB9FDDB}"/>
                </a:ext>
              </a:extLst>
            </p:cNvPr>
            <p:cNvSpPr/>
            <p:nvPr/>
          </p:nvSpPr>
          <p:spPr>
            <a:xfrm>
              <a:off x="0" y="0"/>
              <a:ext cx="751051" cy="342834"/>
            </a:xfrm>
            <a:custGeom>
              <a:avLst/>
              <a:gdLst/>
              <a:ahLst/>
              <a:cxnLst/>
              <a:rect l="l" t="t" r="r" b="b"/>
              <a:pathLst>
                <a:path w="751051" h="342834">
                  <a:moveTo>
                    <a:pt x="59728" y="0"/>
                  </a:moveTo>
                  <a:lnTo>
                    <a:pt x="691323" y="0"/>
                  </a:lnTo>
                  <a:cubicBezTo>
                    <a:pt x="707164" y="0"/>
                    <a:pt x="722356" y="6293"/>
                    <a:pt x="733557" y="17494"/>
                  </a:cubicBezTo>
                  <a:cubicBezTo>
                    <a:pt x="744758" y="28695"/>
                    <a:pt x="751051" y="43887"/>
                    <a:pt x="751051" y="59728"/>
                  </a:cubicBezTo>
                  <a:lnTo>
                    <a:pt x="751051" y="283106"/>
                  </a:lnTo>
                  <a:cubicBezTo>
                    <a:pt x="751051" y="316093"/>
                    <a:pt x="724310" y="342834"/>
                    <a:pt x="691323" y="342834"/>
                  </a:cubicBezTo>
                  <a:lnTo>
                    <a:pt x="59728" y="342834"/>
                  </a:lnTo>
                  <a:cubicBezTo>
                    <a:pt x="43887" y="342834"/>
                    <a:pt x="28695" y="336541"/>
                    <a:pt x="17494" y="325340"/>
                  </a:cubicBezTo>
                  <a:cubicBezTo>
                    <a:pt x="6293" y="314139"/>
                    <a:pt x="0" y="298947"/>
                    <a:pt x="0" y="283106"/>
                  </a:cubicBezTo>
                  <a:lnTo>
                    <a:pt x="0" y="59728"/>
                  </a:lnTo>
                  <a:cubicBezTo>
                    <a:pt x="0" y="26741"/>
                    <a:pt x="26741" y="0"/>
                    <a:pt x="59728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95250" cap="rnd">
              <a:solidFill>
                <a:srgbClr val="FBAD2E"/>
              </a:solidFill>
              <a:prstDash val="solid"/>
              <a:rou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7" name="TextBox 18">
              <a:extLst>
                <a:ext uri="{FF2B5EF4-FFF2-40B4-BE49-F238E27FC236}">
                  <a16:creationId xmlns:a16="http://schemas.microsoft.com/office/drawing/2014/main" id="{144E0CF5-28B4-C0AF-49AB-8118FCCB9C2B}"/>
                </a:ext>
              </a:extLst>
            </p:cNvPr>
            <p:cNvSpPr txBox="1"/>
            <p:nvPr/>
          </p:nvSpPr>
          <p:spPr>
            <a:xfrm>
              <a:off x="0" y="-47625"/>
              <a:ext cx="751051" cy="39045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/>
            </a:p>
          </p:txBody>
        </p:sp>
      </p:grpSp>
      <p:grpSp>
        <p:nvGrpSpPr>
          <p:cNvPr id="30" name="Group 16">
            <a:extLst>
              <a:ext uri="{FF2B5EF4-FFF2-40B4-BE49-F238E27FC236}">
                <a16:creationId xmlns:a16="http://schemas.microsoft.com/office/drawing/2014/main" id="{EA6EE337-F3B8-7DA8-FF81-5A67D71E8558}"/>
              </a:ext>
            </a:extLst>
          </p:cNvPr>
          <p:cNvGrpSpPr/>
          <p:nvPr/>
        </p:nvGrpSpPr>
        <p:grpSpPr>
          <a:xfrm>
            <a:off x="627242" y="3555661"/>
            <a:ext cx="2474082" cy="930827"/>
            <a:chOff x="0" y="0"/>
            <a:chExt cx="751051" cy="342834"/>
          </a:xfrm>
        </p:grpSpPr>
        <p:sp>
          <p:nvSpPr>
            <p:cNvPr id="31" name="Freeform 17">
              <a:extLst>
                <a:ext uri="{FF2B5EF4-FFF2-40B4-BE49-F238E27FC236}">
                  <a16:creationId xmlns:a16="http://schemas.microsoft.com/office/drawing/2014/main" id="{84CE3576-E093-2AFE-A826-DFC80D874677}"/>
                </a:ext>
              </a:extLst>
            </p:cNvPr>
            <p:cNvSpPr/>
            <p:nvPr/>
          </p:nvSpPr>
          <p:spPr>
            <a:xfrm>
              <a:off x="0" y="0"/>
              <a:ext cx="751051" cy="342834"/>
            </a:xfrm>
            <a:custGeom>
              <a:avLst/>
              <a:gdLst/>
              <a:ahLst/>
              <a:cxnLst/>
              <a:rect l="l" t="t" r="r" b="b"/>
              <a:pathLst>
                <a:path w="751051" h="342834">
                  <a:moveTo>
                    <a:pt x="59728" y="0"/>
                  </a:moveTo>
                  <a:lnTo>
                    <a:pt x="691323" y="0"/>
                  </a:lnTo>
                  <a:cubicBezTo>
                    <a:pt x="707164" y="0"/>
                    <a:pt x="722356" y="6293"/>
                    <a:pt x="733557" y="17494"/>
                  </a:cubicBezTo>
                  <a:cubicBezTo>
                    <a:pt x="744758" y="28695"/>
                    <a:pt x="751051" y="43887"/>
                    <a:pt x="751051" y="59728"/>
                  </a:cubicBezTo>
                  <a:lnTo>
                    <a:pt x="751051" y="283106"/>
                  </a:lnTo>
                  <a:cubicBezTo>
                    <a:pt x="751051" y="316093"/>
                    <a:pt x="724310" y="342834"/>
                    <a:pt x="691323" y="342834"/>
                  </a:cubicBezTo>
                  <a:lnTo>
                    <a:pt x="59728" y="342834"/>
                  </a:lnTo>
                  <a:cubicBezTo>
                    <a:pt x="43887" y="342834"/>
                    <a:pt x="28695" y="336541"/>
                    <a:pt x="17494" y="325340"/>
                  </a:cubicBezTo>
                  <a:cubicBezTo>
                    <a:pt x="6293" y="314139"/>
                    <a:pt x="0" y="298947"/>
                    <a:pt x="0" y="283106"/>
                  </a:cubicBezTo>
                  <a:lnTo>
                    <a:pt x="0" y="59728"/>
                  </a:lnTo>
                  <a:cubicBezTo>
                    <a:pt x="0" y="26741"/>
                    <a:pt x="26741" y="0"/>
                    <a:pt x="59728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95250" cap="rnd">
              <a:solidFill>
                <a:srgbClr val="FBAD2E"/>
              </a:solidFill>
              <a:prstDash val="solid"/>
              <a:rou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" name="TextBox 18">
              <a:extLst>
                <a:ext uri="{FF2B5EF4-FFF2-40B4-BE49-F238E27FC236}">
                  <a16:creationId xmlns:a16="http://schemas.microsoft.com/office/drawing/2014/main" id="{964C1AA1-7C5C-A778-44AB-3AB4BFDD1784}"/>
                </a:ext>
              </a:extLst>
            </p:cNvPr>
            <p:cNvSpPr txBox="1"/>
            <p:nvPr/>
          </p:nvSpPr>
          <p:spPr>
            <a:xfrm>
              <a:off x="0" y="-47625"/>
              <a:ext cx="751051" cy="39045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/>
            </a:p>
          </p:txBody>
        </p:sp>
      </p:grpSp>
      <p:grpSp>
        <p:nvGrpSpPr>
          <p:cNvPr id="20" name="Group 16">
            <a:extLst>
              <a:ext uri="{FF2B5EF4-FFF2-40B4-BE49-F238E27FC236}">
                <a16:creationId xmlns:a16="http://schemas.microsoft.com/office/drawing/2014/main" id="{489B8539-E729-7C17-7AF3-9994D8A8FAEE}"/>
              </a:ext>
            </a:extLst>
          </p:cNvPr>
          <p:cNvGrpSpPr/>
          <p:nvPr/>
        </p:nvGrpSpPr>
        <p:grpSpPr>
          <a:xfrm>
            <a:off x="1874206" y="4645282"/>
            <a:ext cx="1214909" cy="758328"/>
            <a:chOff x="0" y="0"/>
            <a:chExt cx="751051" cy="342834"/>
          </a:xfrm>
        </p:grpSpPr>
        <p:sp>
          <p:nvSpPr>
            <p:cNvPr id="23" name="Freeform 17">
              <a:extLst>
                <a:ext uri="{FF2B5EF4-FFF2-40B4-BE49-F238E27FC236}">
                  <a16:creationId xmlns:a16="http://schemas.microsoft.com/office/drawing/2014/main" id="{E32CE30F-4ED8-EDF7-B441-3465925A4181}"/>
                </a:ext>
              </a:extLst>
            </p:cNvPr>
            <p:cNvSpPr/>
            <p:nvPr/>
          </p:nvSpPr>
          <p:spPr>
            <a:xfrm>
              <a:off x="0" y="0"/>
              <a:ext cx="751051" cy="342834"/>
            </a:xfrm>
            <a:custGeom>
              <a:avLst/>
              <a:gdLst/>
              <a:ahLst/>
              <a:cxnLst/>
              <a:rect l="l" t="t" r="r" b="b"/>
              <a:pathLst>
                <a:path w="751051" h="342834">
                  <a:moveTo>
                    <a:pt x="59728" y="0"/>
                  </a:moveTo>
                  <a:lnTo>
                    <a:pt x="691323" y="0"/>
                  </a:lnTo>
                  <a:cubicBezTo>
                    <a:pt x="707164" y="0"/>
                    <a:pt x="722356" y="6293"/>
                    <a:pt x="733557" y="17494"/>
                  </a:cubicBezTo>
                  <a:cubicBezTo>
                    <a:pt x="744758" y="28695"/>
                    <a:pt x="751051" y="43887"/>
                    <a:pt x="751051" y="59728"/>
                  </a:cubicBezTo>
                  <a:lnTo>
                    <a:pt x="751051" y="283106"/>
                  </a:lnTo>
                  <a:cubicBezTo>
                    <a:pt x="751051" y="316093"/>
                    <a:pt x="724310" y="342834"/>
                    <a:pt x="691323" y="342834"/>
                  </a:cubicBezTo>
                  <a:lnTo>
                    <a:pt x="59728" y="342834"/>
                  </a:lnTo>
                  <a:cubicBezTo>
                    <a:pt x="43887" y="342834"/>
                    <a:pt x="28695" y="336541"/>
                    <a:pt x="17494" y="325340"/>
                  </a:cubicBezTo>
                  <a:cubicBezTo>
                    <a:pt x="6293" y="314139"/>
                    <a:pt x="0" y="298947"/>
                    <a:pt x="0" y="283106"/>
                  </a:cubicBezTo>
                  <a:lnTo>
                    <a:pt x="0" y="59728"/>
                  </a:lnTo>
                  <a:cubicBezTo>
                    <a:pt x="0" y="26741"/>
                    <a:pt x="26741" y="0"/>
                    <a:pt x="59728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95250" cap="rnd">
              <a:solidFill>
                <a:srgbClr val="FBAD2E"/>
              </a:solidFill>
              <a:prstDash val="solid"/>
              <a:rou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" name="TextBox 18">
              <a:extLst>
                <a:ext uri="{FF2B5EF4-FFF2-40B4-BE49-F238E27FC236}">
                  <a16:creationId xmlns:a16="http://schemas.microsoft.com/office/drawing/2014/main" id="{3A398106-709B-82FB-AF3D-0EF12A5860ED}"/>
                </a:ext>
              </a:extLst>
            </p:cNvPr>
            <p:cNvSpPr txBox="1"/>
            <p:nvPr/>
          </p:nvSpPr>
          <p:spPr>
            <a:xfrm>
              <a:off x="0" y="-47625"/>
              <a:ext cx="751051" cy="39045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/>
            </a:p>
          </p:txBody>
        </p:sp>
      </p:grpSp>
      <p:grpSp>
        <p:nvGrpSpPr>
          <p:cNvPr id="11" name="Group 16">
            <a:extLst>
              <a:ext uri="{FF2B5EF4-FFF2-40B4-BE49-F238E27FC236}">
                <a16:creationId xmlns:a16="http://schemas.microsoft.com/office/drawing/2014/main" id="{4804B38A-BEA4-BA4F-ECEA-EC4F9DA417E8}"/>
              </a:ext>
            </a:extLst>
          </p:cNvPr>
          <p:cNvGrpSpPr/>
          <p:nvPr/>
        </p:nvGrpSpPr>
        <p:grpSpPr>
          <a:xfrm>
            <a:off x="605730" y="5525098"/>
            <a:ext cx="2474082" cy="815166"/>
            <a:chOff x="0" y="0"/>
            <a:chExt cx="751051" cy="342834"/>
          </a:xfrm>
        </p:grpSpPr>
        <p:sp>
          <p:nvSpPr>
            <p:cNvPr id="12" name="Freeform 17">
              <a:extLst>
                <a:ext uri="{FF2B5EF4-FFF2-40B4-BE49-F238E27FC236}">
                  <a16:creationId xmlns:a16="http://schemas.microsoft.com/office/drawing/2014/main" id="{124FF809-FF1B-9588-618A-1FF5F60A5875}"/>
                </a:ext>
              </a:extLst>
            </p:cNvPr>
            <p:cNvSpPr/>
            <p:nvPr/>
          </p:nvSpPr>
          <p:spPr>
            <a:xfrm>
              <a:off x="0" y="0"/>
              <a:ext cx="751051" cy="342834"/>
            </a:xfrm>
            <a:custGeom>
              <a:avLst/>
              <a:gdLst/>
              <a:ahLst/>
              <a:cxnLst/>
              <a:rect l="l" t="t" r="r" b="b"/>
              <a:pathLst>
                <a:path w="751051" h="342834">
                  <a:moveTo>
                    <a:pt x="59728" y="0"/>
                  </a:moveTo>
                  <a:lnTo>
                    <a:pt x="691323" y="0"/>
                  </a:lnTo>
                  <a:cubicBezTo>
                    <a:pt x="707164" y="0"/>
                    <a:pt x="722356" y="6293"/>
                    <a:pt x="733557" y="17494"/>
                  </a:cubicBezTo>
                  <a:cubicBezTo>
                    <a:pt x="744758" y="28695"/>
                    <a:pt x="751051" y="43887"/>
                    <a:pt x="751051" y="59728"/>
                  </a:cubicBezTo>
                  <a:lnTo>
                    <a:pt x="751051" y="283106"/>
                  </a:lnTo>
                  <a:cubicBezTo>
                    <a:pt x="751051" y="316093"/>
                    <a:pt x="724310" y="342834"/>
                    <a:pt x="691323" y="342834"/>
                  </a:cubicBezTo>
                  <a:lnTo>
                    <a:pt x="59728" y="342834"/>
                  </a:lnTo>
                  <a:cubicBezTo>
                    <a:pt x="43887" y="342834"/>
                    <a:pt x="28695" y="336541"/>
                    <a:pt x="17494" y="325340"/>
                  </a:cubicBezTo>
                  <a:cubicBezTo>
                    <a:pt x="6293" y="314139"/>
                    <a:pt x="0" y="298947"/>
                    <a:pt x="0" y="283106"/>
                  </a:cubicBezTo>
                  <a:lnTo>
                    <a:pt x="0" y="59728"/>
                  </a:lnTo>
                  <a:cubicBezTo>
                    <a:pt x="0" y="26741"/>
                    <a:pt x="26741" y="0"/>
                    <a:pt x="59728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95250" cap="rnd">
              <a:solidFill>
                <a:srgbClr val="FBAD2E"/>
              </a:solidFill>
              <a:prstDash val="solid"/>
              <a:rou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" name="TextBox 18">
              <a:extLst>
                <a:ext uri="{FF2B5EF4-FFF2-40B4-BE49-F238E27FC236}">
                  <a16:creationId xmlns:a16="http://schemas.microsoft.com/office/drawing/2014/main" id="{FE2417AE-3F67-DA49-200F-7CA8C0F102AC}"/>
                </a:ext>
              </a:extLst>
            </p:cNvPr>
            <p:cNvSpPr txBox="1"/>
            <p:nvPr/>
          </p:nvSpPr>
          <p:spPr>
            <a:xfrm>
              <a:off x="0" y="-47625"/>
              <a:ext cx="751051" cy="39045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/>
            </a:p>
          </p:txBody>
        </p:sp>
      </p:grpSp>
      <p:grpSp>
        <p:nvGrpSpPr>
          <p:cNvPr id="26" name="Group 16">
            <a:extLst>
              <a:ext uri="{FF2B5EF4-FFF2-40B4-BE49-F238E27FC236}">
                <a16:creationId xmlns:a16="http://schemas.microsoft.com/office/drawing/2014/main" id="{DF640064-11CE-BE66-D9A7-65CC7A4CE927}"/>
              </a:ext>
            </a:extLst>
          </p:cNvPr>
          <p:cNvGrpSpPr/>
          <p:nvPr/>
        </p:nvGrpSpPr>
        <p:grpSpPr>
          <a:xfrm>
            <a:off x="637165" y="6615461"/>
            <a:ext cx="2474082" cy="950870"/>
            <a:chOff x="0" y="0"/>
            <a:chExt cx="751051" cy="342834"/>
          </a:xfrm>
        </p:grpSpPr>
        <p:sp>
          <p:nvSpPr>
            <p:cNvPr id="27" name="Freeform 17">
              <a:extLst>
                <a:ext uri="{FF2B5EF4-FFF2-40B4-BE49-F238E27FC236}">
                  <a16:creationId xmlns:a16="http://schemas.microsoft.com/office/drawing/2014/main" id="{4F081B77-0A8B-90FE-FA6E-FE0AA0D9E65B}"/>
                </a:ext>
              </a:extLst>
            </p:cNvPr>
            <p:cNvSpPr/>
            <p:nvPr/>
          </p:nvSpPr>
          <p:spPr>
            <a:xfrm>
              <a:off x="0" y="0"/>
              <a:ext cx="751051" cy="342834"/>
            </a:xfrm>
            <a:custGeom>
              <a:avLst/>
              <a:gdLst/>
              <a:ahLst/>
              <a:cxnLst/>
              <a:rect l="l" t="t" r="r" b="b"/>
              <a:pathLst>
                <a:path w="751051" h="342834">
                  <a:moveTo>
                    <a:pt x="59728" y="0"/>
                  </a:moveTo>
                  <a:lnTo>
                    <a:pt x="691323" y="0"/>
                  </a:lnTo>
                  <a:cubicBezTo>
                    <a:pt x="707164" y="0"/>
                    <a:pt x="722356" y="6293"/>
                    <a:pt x="733557" y="17494"/>
                  </a:cubicBezTo>
                  <a:cubicBezTo>
                    <a:pt x="744758" y="28695"/>
                    <a:pt x="751051" y="43887"/>
                    <a:pt x="751051" y="59728"/>
                  </a:cubicBezTo>
                  <a:lnTo>
                    <a:pt x="751051" y="283106"/>
                  </a:lnTo>
                  <a:cubicBezTo>
                    <a:pt x="751051" y="316093"/>
                    <a:pt x="724310" y="342834"/>
                    <a:pt x="691323" y="342834"/>
                  </a:cubicBezTo>
                  <a:lnTo>
                    <a:pt x="59728" y="342834"/>
                  </a:lnTo>
                  <a:cubicBezTo>
                    <a:pt x="43887" y="342834"/>
                    <a:pt x="28695" y="336541"/>
                    <a:pt x="17494" y="325340"/>
                  </a:cubicBezTo>
                  <a:cubicBezTo>
                    <a:pt x="6293" y="314139"/>
                    <a:pt x="0" y="298947"/>
                    <a:pt x="0" y="283106"/>
                  </a:cubicBezTo>
                  <a:lnTo>
                    <a:pt x="0" y="59728"/>
                  </a:lnTo>
                  <a:cubicBezTo>
                    <a:pt x="0" y="26741"/>
                    <a:pt x="26741" y="0"/>
                    <a:pt x="59728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95250" cap="rnd">
              <a:solidFill>
                <a:srgbClr val="FBAD2E"/>
              </a:solidFill>
              <a:prstDash val="solid"/>
              <a:rou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TextBox 18">
              <a:extLst>
                <a:ext uri="{FF2B5EF4-FFF2-40B4-BE49-F238E27FC236}">
                  <a16:creationId xmlns:a16="http://schemas.microsoft.com/office/drawing/2014/main" id="{0B3D2B62-21C2-0DD8-2432-7905FFEB1C1D}"/>
                </a:ext>
              </a:extLst>
            </p:cNvPr>
            <p:cNvSpPr txBox="1"/>
            <p:nvPr/>
          </p:nvSpPr>
          <p:spPr>
            <a:xfrm>
              <a:off x="0" y="-47625"/>
              <a:ext cx="751051" cy="39045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/>
            </a:p>
          </p:txBody>
        </p:sp>
      </p:grpSp>
      <p:grpSp>
        <p:nvGrpSpPr>
          <p:cNvPr id="14" name="Group 16">
            <a:extLst>
              <a:ext uri="{FF2B5EF4-FFF2-40B4-BE49-F238E27FC236}">
                <a16:creationId xmlns:a16="http://schemas.microsoft.com/office/drawing/2014/main" id="{A8501D5A-59FA-0B7E-96A3-3BF172CE8349}"/>
              </a:ext>
            </a:extLst>
          </p:cNvPr>
          <p:cNvGrpSpPr/>
          <p:nvPr/>
        </p:nvGrpSpPr>
        <p:grpSpPr>
          <a:xfrm>
            <a:off x="561217" y="4635422"/>
            <a:ext cx="1169755" cy="758328"/>
            <a:chOff x="0" y="0"/>
            <a:chExt cx="751051" cy="342834"/>
          </a:xfrm>
        </p:grpSpPr>
        <p:sp>
          <p:nvSpPr>
            <p:cNvPr id="15" name="Freeform 17">
              <a:extLst>
                <a:ext uri="{FF2B5EF4-FFF2-40B4-BE49-F238E27FC236}">
                  <a16:creationId xmlns:a16="http://schemas.microsoft.com/office/drawing/2014/main" id="{91D78CE0-49E9-C4FA-B649-6089D27DDEAF}"/>
                </a:ext>
              </a:extLst>
            </p:cNvPr>
            <p:cNvSpPr/>
            <p:nvPr/>
          </p:nvSpPr>
          <p:spPr>
            <a:xfrm>
              <a:off x="0" y="0"/>
              <a:ext cx="751051" cy="342834"/>
            </a:xfrm>
            <a:custGeom>
              <a:avLst/>
              <a:gdLst/>
              <a:ahLst/>
              <a:cxnLst/>
              <a:rect l="l" t="t" r="r" b="b"/>
              <a:pathLst>
                <a:path w="751051" h="342834">
                  <a:moveTo>
                    <a:pt x="59728" y="0"/>
                  </a:moveTo>
                  <a:lnTo>
                    <a:pt x="691323" y="0"/>
                  </a:lnTo>
                  <a:cubicBezTo>
                    <a:pt x="707164" y="0"/>
                    <a:pt x="722356" y="6293"/>
                    <a:pt x="733557" y="17494"/>
                  </a:cubicBezTo>
                  <a:cubicBezTo>
                    <a:pt x="744758" y="28695"/>
                    <a:pt x="751051" y="43887"/>
                    <a:pt x="751051" y="59728"/>
                  </a:cubicBezTo>
                  <a:lnTo>
                    <a:pt x="751051" y="283106"/>
                  </a:lnTo>
                  <a:cubicBezTo>
                    <a:pt x="751051" y="316093"/>
                    <a:pt x="724310" y="342834"/>
                    <a:pt x="691323" y="342834"/>
                  </a:cubicBezTo>
                  <a:lnTo>
                    <a:pt x="59728" y="342834"/>
                  </a:lnTo>
                  <a:cubicBezTo>
                    <a:pt x="43887" y="342834"/>
                    <a:pt x="28695" y="336541"/>
                    <a:pt x="17494" y="325340"/>
                  </a:cubicBezTo>
                  <a:cubicBezTo>
                    <a:pt x="6293" y="314139"/>
                    <a:pt x="0" y="298947"/>
                    <a:pt x="0" y="283106"/>
                  </a:cubicBezTo>
                  <a:lnTo>
                    <a:pt x="0" y="59728"/>
                  </a:lnTo>
                  <a:cubicBezTo>
                    <a:pt x="0" y="26741"/>
                    <a:pt x="26741" y="0"/>
                    <a:pt x="59728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95250" cap="rnd">
              <a:solidFill>
                <a:srgbClr val="FBAD2E"/>
              </a:solidFill>
              <a:prstDash val="solid"/>
              <a:rou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" name="TextBox 18">
              <a:extLst>
                <a:ext uri="{FF2B5EF4-FFF2-40B4-BE49-F238E27FC236}">
                  <a16:creationId xmlns:a16="http://schemas.microsoft.com/office/drawing/2014/main" id="{11827A84-0328-3BB2-90C7-F64810B84F39}"/>
                </a:ext>
              </a:extLst>
            </p:cNvPr>
            <p:cNvSpPr txBox="1"/>
            <p:nvPr/>
          </p:nvSpPr>
          <p:spPr>
            <a:xfrm>
              <a:off x="0" y="-47625"/>
              <a:ext cx="751051" cy="39045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/>
            </a:p>
          </p:txBody>
        </p:sp>
      </p:grpSp>
      <p:sp>
        <p:nvSpPr>
          <p:cNvPr id="4" name="Rectangle 1">
            <a:extLst>
              <a:ext uri="{FF2B5EF4-FFF2-40B4-BE49-F238E27FC236}">
                <a16:creationId xmlns:a16="http://schemas.microsoft.com/office/drawing/2014/main" id="{88824C21-B2F1-1842-745B-3B93F3F427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6858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Просмотр назначенных вам клиентов</a:t>
            </a:r>
          </a:p>
        </p:txBody>
      </p:sp>
    </p:spTree>
    <p:extLst>
      <p:ext uri="{BB962C8B-B14F-4D97-AF65-F5344CB8AC3E}">
        <p14:creationId xmlns:p14="http://schemas.microsoft.com/office/powerpoint/2010/main" val="1027983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7FFB38-1700-11DC-319D-55F1D54028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27A632A-6ECE-27B5-EC1D-0C331AFF8AFF}"/>
              </a:ext>
            </a:extLst>
          </p:cNvPr>
          <p:cNvSpPr/>
          <p:nvPr/>
        </p:nvSpPr>
        <p:spPr bwMode="auto">
          <a:xfrm>
            <a:off x="50294" y="-486495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8E3DC8C1-B5B4-115C-BE78-B08D152B5BD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4009" y="8682623"/>
            <a:ext cx="1073746" cy="557636"/>
          </a:xfrm>
          <a:prstGeom prst="rect">
            <a:avLst/>
          </a:prstGeom>
        </p:spPr>
      </p:pic>
      <p:grpSp>
        <p:nvGrpSpPr>
          <p:cNvPr id="64" name="Group 18">
            <a:extLst>
              <a:ext uri="{FF2B5EF4-FFF2-40B4-BE49-F238E27FC236}">
                <a16:creationId xmlns:a16="http://schemas.microsoft.com/office/drawing/2014/main" id="{1D63C6FD-5720-C142-5482-555FEF2D6102}"/>
              </a:ext>
            </a:extLst>
          </p:cNvPr>
          <p:cNvGrpSpPr>
            <a:grpSpLocks noChangeAspect="1"/>
          </p:cNvGrpSpPr>
          <p:nvPr/>
        </p:nvGrpSpPr>
        <p:grpSpPr>
          <a:xfrm>
            <a:off x="3550476" y="6274234"/>
            <a:ext cx="1976323" cy="1316630"/>
            <a:chOff x="-3936144" y="-2306834"/>
            <a:chExt cx="4881103" cy="3251793"/>
          </a:xfrm>
        </p:grpSpPr>
        <p:sp>
          <p:nvSpPr>
            <p:cNvPr id="68" name="TextBox 21">
              <a:extLst>
                <a:ext uri="{FF2B5EF4-FFF2-40B4-BE49-F238E27FC236}">
                  <a16:creationId xmlns:a16="http://schemas.microsoft.com/office/drawing/2014/main" id="{32E2D124-F4E1-67EB-65EB-FF03F6F353B1}"/>
                </a:ext>
              </a:extLst>
            </p:cNvPr>
            <p:cNvSpPr txBox="1"/>
            <p:nvPr/>
          </p:nvSpPr>
          <p:spPr>
            <a:xfrm>
              <a:off x="0" y="-154295"/>
              <a:ext cx="944959" cy="1099254"/>
            </a:xfrm>
            <a:prstGeom prst="rect">
              <a:avLst/>
            </a:prstGeom>
          </p:spPr>
          <p:txBody>
            <a:bodyPr lIns="19483" tIns="19483" rIns="19483" bIns="19483" rtlCol="0" anchor="ctr"/>
            <a:lstStyle/>
            <a:p>
              <a:pPr>
                <a:lnSpc>
                  <a:spcPts val="805"/>
                </a:lnSpc>
              </a:pPr>
              <a:endParaRPr sz="525"/>
            </a:p>
          </p:txBody>
        </p:sp>
        <p:sp>
          <p:nvSpPr>
            <p:cNvPr id="66" name="Freeform 22">
              <a:extLst>
                <a:ext uri="{FF2B5EF4-FFF2-40B4-BE49-F238E27FC236}">
                  <a16:creationId xmlns:a16="http://schemas.microsoft.com/office/drawing/2014/main" id="{1FFCAA82-4C95-2961-C01F-1D31410EB11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3936144" y="-2306834"/>
              <a:ext cx="691059" cy="903348"/>
            </a:xfrm>
            <a:custGeom>
              <a:avLst/>
              <a:gdLst/>
              <a:ahLst/>
              <a:cxnLst/>
              <a:rect l="l" t="t" r="r" b="b"/>
              <a:pathLst>
                <a:path w="586055" h="766085">
                  <a:moveTo>
                    <a:pt x="0" y="0"/>
                  </a:moveTo>
                  <a:lnTo>
                    <a:pt x="586055" y="0"/>
                  </a:lnTo>
                  <a:lnTo>
                    <a:pt x="586055" y="766085"/>
                  </a:lnTo>
                  <a:lnTo>
                    <a:pt x="0" y="766085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B5593171-F5D2-69EB-670C-078CB133A0D3}"/>
              </a:ext>
            </a:extLst>
          </p:cNvPr>
          <p:cNvGrpSpPr/>
          <p:nvPr/>
        </p:nvGrpSpPr>
        <p:grpSpPr>
          <a:xfrm>
            <a:off x="-136091" y="4530"/>
            <a:ext cx="6390135" cy="1745696"/>
            <a:chOff x="-256998" y="1273158"/>
            <a:chExt cx="6520377" cy="1886106"/>
          </a:xfrm>
        </p:grpSpPr>
        <p:sp>
          <p:nvSpPr>
            <p:cNvPr id="51" name="TextBox 33">
              <a:extLst>
                <a:ext uri="{FF2B5EF4-FFF2-40B4-BE49-F238E27FC236}">
                  <a16:creationId xmlns:a16="http://schemas.microsoft.com/office/drawing/2014/main" id="{10C29231-57D5-C958-E986-084606DA8865}"/>
                </a:ext>
              </a:extLst>
            </p:cNvPr>
            <p:cNvSpPr txBox="1"/>
            <p:nvPr/>
          </p:nvSpPr>
          <p:spPr>
            <a:xfrm>
              <a:off x="370430" y="2037476"/>
              <a:ext cx="4489919" cy="224036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lnSpc>
                  <a:spcPts val="1638"/>
                </a:lnSpc>
              </a:pPr>
              <a:r>
                <a:rPr lang="en-US" sz="2400" b="1">
                  <a:solidFill>
                    <a:srgbClr val="FFFFFF"/>
                  </a:solidFill>
                  <a:latin typeface="Fira Sans Bold"/>
                </a:rPr>
                <a:t>Navigate your homepage…</a:t>
              </a: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C7C6B0B8-F417-2DA0-8D03-E71174888F0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01" t="26893" r="44493" b="48653"/>
            <a:stretch/>
          </p:blipFill>
          <p:spPr>
            <a:xfrm flipH="1">
              <a:off x="-256998" y="1273158"/>
              <a:ext cx="4489919" cy="1886106"/>
            </a:xfrm>
            <a:custGeom>
              <a:avLst/>
              <a:gdLst>
                <a:gd name="connsiteX0" fmla="*/ 5762061 w 5962266"/>
                <a:gd name="connsiteY0" fmla="*/ 0 h 1886106"/>
                <a:gd name="connsiteX1" fmla="*/ 321348 w 5962266"/>
                <a:gd name="connsiteY1" fmla="*/ 0 h 1886106"/>
                <a:gd name="connsiteX2" fmla="*/ 0 w 5962266"/>
                <a:gd name="connsiteY2" fmla="*/ 258770 h 1886106"/>
                <a:gd name="connsiteX3" fmla="*/ 0 w 5962266"/>
                <a:gd name="connsiteY3" fmla="*/ 1627336 h 1886106"/>
                <a:gd name="connsiteX4" fmla="*/ 94118 w 5962266"/>
                <a:gd name="connsiteY4" fmla="*/ 1810316 h 1886106"/>
                <a:gd name="connsiteX5" fmla="*/ 321348 w 5962266"/>
                <a:gd name="connsiteY5" fmla="*/ 1886106 h 1886106"/>
                <a:gd name="connsiteX6" fmla="*/ 5762061 w 5962266"/>
                <a:gd name="connsiteY6" fmla="*/ 1886106 h 1886106"/>
                <a:gd name="connsiteX7" fmla="*/ 5941728 w 5962266"/>
                <a:gd name="connsiteY7" fmla="*/ 1841912 h 1886106"/>
                <a:gd name="connsiteX8" fmla="*/ 5962266 w 5962266"/>
                <a:gd name="connsiteY8" fmla="*/ 1828266 h 1886106"/>
                <a:gd name="connsiteX9" fmla="*/ 5962266 w 5962266"/>
                <a:gd name="connsiteY9" fmla="*/ 57840 h 1886106"/>
                <a:gd name="connsiteX10" fmla="*/ 5941728 w 5962266"/>
                <a:gd name="connsiteY10" fmla="*/ 44195 h 1886106"/>
                <a:gd name="connsiteX11" fmla="*/ 5762061 w 5962266"/>
                <a:gd name="connsiteY11" fmla="*/ 0 h 1886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962266" h="1886106">
                  <a:moveTo>
                    <a:pt x="5762061" y="0"/>
                  </a:moveTo>
                  <a:lnTo>
                    <a:pt x="321348" y="0"/>
                  </a:lnTo>
                  <a:cubicBezTo>
                    <a:pt x="143875" y="0"/>
                    <a:pt x="0" y="115857"/>
                    <a:pt x="0" y="258770"/>
                  </a:cubicBezTo>
                  <a:lnTo>
                    <a:pt x="0" y="1627336"/>
                  </a:lnTo>
                  <a:cubicBezTo>
                    <a:pt x="0" y="1695966"/>
                    <a:pt x="33853" y="1761787"/>
                    <a:pt x="94118" y="1810316"/>
                  </a:cubicBezTo>
                  <a:cubicBezTo>
                    <a:pt x="154383" y="1858846"/>
                    <a:pt x="236122" y="1886106"/>
                    <a:pt x="321348" y="1886106"/>
                  </a:cubicBezTo>
                  <a:lnTo>
                    <a:pt x="5762061" y="1886106"/>
                  </a:lnTo>
                  <a:cubicBezTo>
                    <a:pt x="5828613" y="1886106"/>
                    <a:pt x="5890440" y="1869814"/>
                    <a:pt x="5941728" y="1841912"/>
                  </a:cubicBezTo>
                  <a:lnTo>
                    <a:pt x="5962266" y="1828266"/>
                  </a:lnTo>
                  <a:lnTo>
                    <a:pt x="5962266" y="57840"/>
                  </a:lnTo>
                  <a:lnTo>
                    <a:pt x="5941728" y="44195"/>
                  </a:lnTo>
                  <a:cubicBezTo>
                    <a:pt x="5890440" y="16293"/>
                    <a:pt x="5828613" y="0"/>
                    <a:pt x="5762061" y="0"/>
                  </a:cubicBezTo>
                  <a:close/>
                </a:path>
              </a:pathLst>
            </a:custGeom>
          </p:spPr>
        </p:pic>
        <p:sp>
          <p:nvSpPr>
            <p:cNvPr id="18" name="Freeform 3">
              <a:extLst>
                <a:ext uri="{FF2B5EF4-FFF2-40B4-BE49-F238E27FC236}">
                  <a16:creationId xmlns:a16="http://schemas.microsoft.com/office/drawing/2014/main" id="{AA22357A-E14E-64D5-8886-0B6490C66BC1}"/>
                </a:ext>
              </a:extLst>
            </p:cNvPr>
            <p:cNvSpPr/>
            <p:nvPr/>
          </p:nvSpPr>
          <p:spPr>
            <a:xfrm>
              <a:off x="-256782" y="1273158"/>
              <a:ext cx="4489704" cy="1886106"/>
            </a:xfrm>
            <a:custGeom>
              <a:avLst/>
              <a:gdLst/>
              <a:ahLst/>
              <a:cxnLst/>
              <a:rect l="l" t="t" r="r" b="b"/>
              <a:pathLst>
                <a:path w="812800" h="312942">
                  <a:moveTo>
                    <a:pt x="42935" y="0"/>
                  </a:moveTo>
                  <a:lnTo>
                    <a:pt x="769865" y="0"/>
                  </a:lnTo>
                  <a:cubicBezTo>
                    <a:pt x="793577" y="0"/>
                    <a:pt x="812800" y="19223"/>
                    <a:pt x="812800" y="42935"/>
                  </a:cubicBezTo>
                  <a:lnTo>
                    <a:pt x="812800" y="270007"/>
                  </a:lnTo>
                  <a:cubicBezTo>
                    <a:pt x="812800" y="281394"/>
                    <a:pt x="808277" y="292315"/>
                    <a:pt x="800225" y="300367"/>
                  </a:cubicBezTo>
                  <a:cubicBezTo>
                    <a:pt x="792173" y="308419"/>
                    <a:pt x="781252" y="312942"/>
                    <a:pt x="769865" y="312942"/>
                  </a:cubicBezTo>
                  <a:lnTo>
                    <a:pt x="42935" y="312942"/>
                  </a:lnTo>
                  <a:cubicBezTo>
                    <a:pt x="19223" y="312942"/>
                    <a:pt x="0" y="293719"/>
                    <a:pt x="0" y="270007"/>
                  </a:cubicBezTo>
                  <a:lnTo>
                    <a:pt x="0" y="42935"/>
                  </a:lnTo>
                  <a:cubicBezTo>
                    <a:pt x="0" y="19223"/>
                    <a:pt x="19223" y="0"/>
                    <a:pt x="42935" y="0"/>
                  </a:cubicBezTo>
                  <a:close/>
                </a:path>
              </a:pathLst>
            </a:custGeom>
            <a:solidFill>
              <a:schemeClr val="accent3">
                <a:alpha val="70000"/>
              </a:schemeClr>
            </a:solidFill>
          </p:spPr>
          <p:txBody>
            <a:bodyPr/>
            <a:lstStyle/>
            <a:p>
              <a:endParaRPr lang="en-US" sz="5400" b="1">
                <a:latin typeface="Fira Sans" panose="020B0503050000020004" pitchFamily="34" charset="0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2B125844-1CD6-53F9-2935-A025D367A49F}"/>
                </a:ext>
              </a:extLst>
            </p:cNvPr>
            <p:cNvSpPr txBox="1"/>
            <p:nvPr/>
          </p:nvSpPr>
          <p:spPr>
            <a:xfrm>
              <a:off x="238107" y="1789872"/>
              <a:ext cx="6025272" cy="6983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uk-UA" sz="3600" b="1" i="1" dirty="0">
                  <a:solidFill>
                    <a:schemeClr val="bg1"/>
                  </a:solidFill>
                  <a:latin typeface="Fira Sans" panose="020B0503050000020004" pitchFamily="34" charset="0"/>
                </a:rPr>
                <a:t>Сповіщення</a:t>
              </a:r>
              <a:endParaRPr lang="en-US" sz="3600" b="1" i="1" dirty="0">
                <a:solidFill>
                  <a:schemeClr val="bg1"/>
                </a:solidFill>
                <a:latin typeface="Fira Sans" panose="020B0503050000020004" pitchFamily="34" charset="0"/>
              </a:endParaRPr>
            </a:p>
          </p:txBody>
        </p:sp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5CBFFF84-037F-6766-8C85-785A25F1E3A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5803" y="2061180"/>
            <a:ext cx="2259139" cy="4485332"/>
          </a:xfrm>
          <a:prstGeom prst="rect">
            <a:avLst/>
          </a:prstGeom>
        </p:spPr>
      </p:pic>
      <p:grpSp>
        <p:nvGrpSpPr>
          <p:cNvPr id="44" name="Group 16">
            <a:extLst>
              <a:ext uri="{FF2B5EF4-FFF2-40B4-BE49-F238E27FC236}">
                <a16:creationId xmlns:a16="http://schemas.microsoft.com/office/drawing/2014/main" id="{3A221904-E5C8-DA73-4650-A4D151B3A235}"/>
              </a:ext>
            </a:extLst>
          </p:cNvPr>
          <p:cNvGrpSpPr/>
          <p:nvPr/>
        </p:nvGrpSpPr>
        <p:grpSpPr>
          <a:xfrm>
            <a:off x="2177680" y="2322333"/>
            <a:ext cx="487262" cy="511899"/>
            <a:chOff x="0" y="-47625"/>
            <a:chExt cx="751051" cy="390459"/>
          </a:xfrm>
        </p:grpSpPr>
        <p:sp>
          <p:nvSpPr>
            <p:cNvPr id="45" name="Freeform 17">
              <a:extLst>
                <a:ext uri="{FF2B5EF4-FFF2-40B4-BE49-F238E27FC236}">
                  <a16:creationId xmlns:a16="http://schemas.microsoft.com/office/drawing/2014/main" id="{EBD28251-874D-73DB-A00D-AEC6F1C152AC}"/>
                </a:ext>
              </a:extLst>
            </p:cNvPr>
            <p:cNvSpPr/>
            <p:nvPr/>
          </p:nvSpPr>
          <p:spPr>
            <a:xfrm>
              <a:off x="0" y="0"/>
              <a:ext cx="751051" cy="342834"/>
            </a:xfrm>
            <a:custGeom>
              <a:avLst/>
              <a:gdLst/>
              <a:ahLst/>
              <a:cxnLst/>
              <a:rect l="l" t="t" r="r" b="b"/>
              <a:pathLst>
                <a:path w="751051" h="342834">
                  <a:moveTo>
                    <a:pt x="59728" y="0"/>
                  </a:moveTo>
                  <a:lnTo>
                    <a:pt x="691323" y="0"/>
                  </a:lnTo>
                  <a:cubicBezTo>
                    <a:pt x="707164" y="0"/>
                    <a:pt x="722356" y="6293"/>
                    <a:pt x="733557" y="17494"/>
                  </a:cubicBezTo>
                  <a:cubicBezTo>
                    <a:pt x="744758" y="28695"/>
                    <a:pt x="751051" y="43887"/>
                    <a:pt x="751051" y="59728"/>
                  </a:cubicBezTo>
                  <a:lnTo>
                    <a:pt x="751051" y="283106"/>
                  </a:lnTo>
                  <a:cubicBezTo>
                    <a:pt x="751051" y="316093"/>
                    <a:pt x="724310" y="342834"/>
                    <a:pt x="691323" y="342834"/>
                  </a:cubicBezTo>
                  <a:lnTo>
                    <a:pt x="59728" y="342834"/>
                  </a:lnTo>
                  <a:cubicBezTo>
                    <a:pt x="43887" y="342834"/>
                    <a:pt x="28695" y="336541"/>
                    <a:pt x="17494" y="325340"/>
                  </a:cubicBezTo>
                  <a:cubicBezTo>
                    <a:pt x="6293" y="314139"/>
                    <a:pt x="0" y="298947"/>
                    <a:pt x="0" y="283106"/>
                  </a:cubicBezTo>
                  <a:lnTo>
                    <a:pt x="0" y="59728"/>
                  </a:lnTo>
                  <a:cubicBezTo>
                    <a:pt x="0" y="26741"/>
                    <a:pt x="26741" y="0"/>
                    <a:pt x="59728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95250" cap="rnd">
              <a:solidFill>
                <a:srgbClr val="FBAD2E"/>
              </a:solidFill>
              <a:prstDash val="solid"/>
              <a:rou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7" name="TextBox 18">
              <a:extLst>
                <a:ext uri="{FF2B5EF4-FFF2-40B4-BE49-F238E27FC236}">
                  <a16:creationId xmlns:a16="http://schemas.microsoft.com/office/drawing/2014/main" id="{5C672F3A-93DE-2226-FCDF-4EF7925CEA40}"/>
                </a:ext>
              </a:extLst>
            </p:cNvPr>
            <p:cNvSpPr txBox="1"/>
            <p:nvPr/>
          </p:nvSpPr>
          <p:spPr>
            <a:xfrm>
              <a:off x="0" y="-47625"/>
              <a:ext cx="751051" cy="342834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 dirty="0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02D07B0-8853-DFF7-80B0-4ED07D662359}"/>
              </a:ext>
            </a:extLst>
          </p:cNvPr>
          <p:cNvGrpSpPr/>
          <p:nvPr/>
        </p:nvGrpSpPr>
        <p:grpSpPr>
          <a:xfrm>
            <a:off x="3374481" y="5325578"/>
            <a:ext cx="2745671" cy="584775"/>
            <a:chOff x="3690378" y="3476068"/>
            <a:chExt cx="3553193" cy="653427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85FC00C4-4956-51A4-3D76-3B39D742391E}"/>
                </a:ext>
              </a:extLst>
            </p:cNvPr>
            <p:cNvSpPr txBox="1"/>
            <p:nvPr/>
          </p:nvSpPr>
          <p:spPr>
            <a:xfrm>
              <a:off x="4320003" y="3476068"/>
              <a:ext cx="2923568" cy="653427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l">
                <a:spcAft>
                  <a:spcPts val="1200"/>
                </a:spcAft>
              </a:pPr>
              <a:r>
                <a:rPr lang="uk-UA" sz="1600" b="1" i="1" dirty="0">
                  <a:latin typeface="+mj-lt"/>
                  <a:cs typeface="Arial"/>
                </a:rPr>
                <a:t>Координація догляду Опитування</a:t>
              </a:r>
            </a:p>
          </p:txBody>
        </p:sp>
        <p:pic>
          <p:nvPicPr>
            <p:cNvPr id="28" name="Graphic 27" descr="Care with solid fill">
              <a:extLst>
                <a:ext uri="{FF2B5EF4-FFF2-40B4-BE49-F238E27FC236}">
                  <a16:creationId xmlns:a16="http://schemas.microsoft.com/office/drawing/2014/main" id="{840C67A0-C31D-6A7C-72CF-61F21F25829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690378" y="3497871"/>
              <a:ext cx="584647" cy="584647"/>
            </a:xfrm>
            <a:prstGeom prst="rect">
              <a:avLst/>
            </a:prstGeom>
          </p:spPr>
        </p:pic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09EF9B3-5F25-2AB6-312D-C7EE5E7D0B71}"/>
              </a:ext>
            </a:extLst>
          </p:cNvPr>
          <p:cNvGrpSpPr/>
          <p:nvPr/>
        </p:nvGrpSpPr>
        <p:grpSpPr>
          <a:xfrm>
            <a:off x="3368230" y="3518901"/>
            <a:ext cx="3337371" cy="673710"/>
            <a:chOff x="3690378" y="5494066"/>
            <a:chExt cx="4343523" cy="827527"/>
          </a:xfrm>
        </p:grpSpPr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E075DF31-D264-84C5-BD8C-30506BE03D61}"/>
                </a:ext>
              </a:extLst>
            </p:cNvPr>
            <p:cNvSpPr txBox="1"/>
            <p:nvPr/>
          </p:nvSpPr>
          <p:spPr>
            <a:xfrm>
              <a:off x="4381055" y="5603306"/>
              <a:ext cx="3652846" cy="718287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l">
                <a:spcAft>
                  <a:spcPts val="1200"/>
                </a:spcAft>
              </a:pPr>
              <a:r>
                <a:rPr lang="uk-UA" sz="1600" b="1" i="1" dirty="0">
                  <a:latin typeface="+mj-lt"/>
                  <a:cs typeface="Arial"/>
                </a:rPr>
                <a:t>День народження/Річниця роботи</a:t>
              </a:r>
              <a:endParaRPr lang="en-US" sz="1600" i="1" dirty="0">
                <a:latin typeface="+mj-lt"/>
                <a:cs typeface="Arial"/>
              </a:endParaRPr>
            </a:p>
          </p:txBody>
        </p:sp>
        <p:pic>
          <p:nvPicPr>
            <p:cNvPr id="39" name="Graphic 38" descr="Balloons with solid fill">
              <a:extLst>
                <a:ext uri="{FF2B5EF4-FFF2-40B4-BE49-F238E27FC236}">
                  <a16:creationId xmlns:a16="http://schemas.microsoft.com/office/drawing/2014/main" id="{D2E23E65-13A5-10CE-E910-1EEF5DB8CE3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3690378" y="5494066"/>
              <a:ext cx="641348" cy="641348"/>
            </a:xfrm>
            <a:prstGeom prst="rect">
              <a:avLst/>
            </a:prstGeom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75FB1CD-C6AF-8E92-F554-C18AD5A4F790}"/>
              </a:ext>
            </a:extLst>
          </p:cNvPr>
          <p:cNvGrpSpPr/>
          <p:nvPr/>
        </p:nvGrpSpPr>
        <p:grpSpPr>
          <a:xfrm>
            <a:off x="3383489" y="3001568"/>
            <a:ext cx="3553108" cy="584776"/>
            <a:chOff x="3673934" y="6255041"/>
            <a:chExt cx="4999195" cy="689479"/>
          </a:xfrm>
        </p:grpSpPr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5E0DEB63-C9CD-F6CC-9387-9CCCB7D4CCD3}"/>
                </a:ext>
              </a:extLst>
            </p:cNvPr>
            <p:cNvSpPr txBox="1"/>
            <p:nvPr/>
          </p:nvSpPr>
          <p:spPr>
            <a:xfrm>
              <a:off x="4402597" y="6255041"/>
              <a:ext cx="4270532" cy="689479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l">
                <a:spcAft>
                  <a:spcPts val="1200"/>
                </a:spcAft>
              </a:pPr>
              <a:r>
                <a:rPr lang="ru-RU" sz="1600" b="1" i="1" dirty="0">
                  <a:latin typeface="+mj-lt"/>
                  <a:cs typeface="Arial"/>
                </a:rPr>
                <a:t>Нагадування про вхід/вихід із системи</a:t>
              </a:r>
              <a:endParaRPr lang="en-US" sz="1600" i="1" dirty="0">
                <a:latin typeface="+mj-lt"/>
                <a:cs typeface="Arial"/>
              </a:endParaRPr>
            </a:p>
          </p:txBody>
        </p:sp>
        <p:pic>
          <p:nvPicPr>
            <p:cNvPr id="48" name="Graphic 47" descr="Alarm Ringing with solid fill">
              <a:extLst>
                <a:ext uri="{FF2B5EF4-FFF2-40B4-BE49-F238E27FC236}">
                  <a16:creationId xmlns:a16="http://schemas.microsoft.com/office/drawing/2014/main" id="{217826D6-69A0-64BC-EB2A-457FB6B72E3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3673934" y="6301581"/>
              <a:ext cx="592228" cy="592228"/>
            </a:xfrm>
            <a:prstGeom prst="rect">
              <a:avLst/>
            </a:prstGeom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9E8AC5D3-B308-D299-6C89-6D7A3AAF72C1}"/>
              </a:ext>
            </a:extLst>
          </p:cNvPr>
          <p:cNvGrpSpPr/>
          <p:nvPr/>
        </p:nvGrpSpPr>
        <p:grpSpPr>
          <a:xfrm>
            <a:off x="3368230" y="4683609"/>
            <a:ext cx="3156039" cy="623253"/>
            <a:chOff x="3668435" y="4094180"/>
            <a:chExt cx="4068346" cy="613239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0697867E-2D5F-7BA2-09EA-89806999999F}"/>
                </a:ext>
              </a:extLst>
            </p:cNvPr>
            <p:cNvSpPr txBox="1"/>
            <p:nvPr/>
          </p:nvSpPr>
          <p:spPr>
            <a:xfrm>
              <a:off x="4365404" y="4132040"/>
              <a:ext cx="3371377" cy="575379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l">
                <a:spcAft>
                  <a:spcPts val="1200"/>
                </a:spcAft>
              </a:pPr>
              <a:r>
                <a:rPr lang="uk-UA" sz="1600" b="1" i="1" dirty="0">
                  <a:latin typeface="+mj-lt"/>
                  <a:cs typeface="Arial"/>
                </a:rPr>
                <a:t>Доступність платіжної відомості</a:t>
              </a:r>
              <a:endParaRPr lang="en-US" sz="1600" i="1" dirty="0">
                <a:latin typeface="+mj-lt"/>
                <a:cs typeface="Arial"/>
              </a:endParaRPr>
            </a:p>
          </p:txBody>
        </p:sp>
        <p:pic>
          <p:nvPicPr>
            <p:cNvPr id="50" name="Graphic 49" descr="Bank with solid fill">
              <a:extLst>
                <a:ext uri="{FF2B5EF4-FFF2-40B4-BE49-F238E27FC236}">
                  <a16:creationId xmlns:a16="http://schemas.microsoft.com/office/drawing/2014/main" id="{B16A9DA8-5031-A196-2F90-922A277AE8E1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3668435" y="4094180"/>
              <a:ext cx="613238" cy="613238"/>
            </a:xfrm>
            <a:prstGeom prst="rect">
              <a:avLst/>
            </a:prstGeom>
          </p:spPr>
        </p:pic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6F43EA4-4B39-D179-5366-86AB0E27CD3D}"/>
              </a:ext>
            </a:extLst>
          </p:cNvPr>
          <p:cNvGrpSpPr/>
          <p:nvPr/>
        </p:nvGrpSpPr>
        <p:grpSpPr>
          <a:xfrm>
            <a:off x="3368230" y="4133206"/>
            <a:ext cx="3083967" cy="515409"/>
            <a:chOff x="3705646" y="4806353"/>
            <a:chExt cx="3852469" cy="573843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60C6B927-63BF-1DE2-49BA-8DFC0929D772}"/>
                </a:ext>
              </a:extLst>
            </p:cNvPr>
            <p:cNvSpPr txBox="1"/>
            <p:nvPr/>
          </p:nvSpPr>
          <p:spPr>
            <a:xfrm>
              <a:off x="4381056" y="4937746"/>
              <a:ext cx="3177059" cy="376937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l">
                <a:spcAft>
                  <a:spcPts val="1200"/>
                </a:spcAft>
              </a:pPr>
              <a:r>
                <a:rPr lang="uk-UA" sz="1600" b="1" i="1" dirty="0">
                  <a:latin typeface="+mj-lt"/>
                  <a:cs typeface="Arial"/>
                </a:rPr>
                <a:t>Доступність форми </a:t>
              </a:r>
              <a:r>
                <a:rPr lang="en-US" sz="1600" b="1" i="1" dirty="0">
                  <a:latin typeface="+mj-lt"/>
                  <a:cs typeface="Arial"/>
                </a:rPr>
                <a:t>W-2</a:t>
              </a:r>
              <a:endParaRPr lang="en-US" sz="1600" i="1" dirty="0">
                <a:latin typeface="+mj-lt"/>
                <a:cs typeface="Arial"/>
              </a:endParaRPr>
            </a:p>
          </p:txBody>
        </p:sp>
        <p:pic>
          <p:nvPicPr>
            <p:cNvPr id="55" name="Graphic 54" descr="Open envelope with solid fill">
              <a:extLst>
                <a:ext uri="{FF2B5EF4-FFF2-40B4-BE49-F238E27FC236}">
                  <a16:creationId xmlns:a16="http://schemas.microsoft.com/office/drawing/2014/main" id="{1CBF2516-C2E6-9CB4-700F-261665576652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3705646" y="4806353"/>
              <a:ext cx="573843" cy="573843"/>
            </a:xfrm>
            <a:prstGeom prst="rect">
              <a:avLst/>
            </a:prstGeom>
          </p:spPr>
        </p:pic>
      </p:grpSp>
      <p:sp>
        <p:nvSpPr>
          <p:cNvPr id="56" name="TextBox 55">
            <a:extLst>
              <a:ext uri="{FF2B5EF4-FFF2-40B4-BE49-F238E27FC236}">
                <a16:creationId xmlns:a16="http://schemas.microsoft.com/office/drawing/2014/main" id="{63B50D3E-7417-1117-B436-A84D0F55AC18}"/>
              </a:ext>
            </a:extLst>
          </p:cNvPr>
          <p:cNvSpPr txBox="1"/>
          <p:nvPr/>
        </p:nvSpPr>
        <p:spPr>
          <a:xfrm>
            <a:off x="3232659" y="1845000"/>
            <a:ext cx="370393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b="1" i="1" dirty="0"/>
              <a:t>Нижче наведено список сповіщень у додатку та </a:t>
            </a:r>
            <a:r>
              <a:rPr lang="en-US" b="1" i="1" dirty="0"/>
              <a:t>push-</a:t>
            </a:r>
            <a:r>
              <a:rPr lang="ru-RU" b="1" i="1" dirty="0"/>
              <a:t>сповіщень, які Ви отримуватимете в </a:t>
            </a:r>
            <a:r>
              <a:rPr lang="en-US" b="1" i="1" dirty="0"/>
              <a:t>Caregiver Connect:</a:t>
            </a:r>
          </a:p>
        </p:txBody>
      </p:sp>
    </p:spTree>
    <p:extLst>
      <p:ext uri="{BB962C8B-B14F-4D97-AF65-F5344CB8AC3E}">
        <p14:creationId xmlns:p14="http://schemas.microsoft.com/office/powerpoint/2010/main" val="5179249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C6226484-67C6-9153-95D0-35286FFD3E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4559" y="1456032"/>
            <a:ext cx="1642229" cy="334467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06052F7-FFCF-3D54-7058-F7602DCC00C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90" t="15643" r="8290" b="63387"/>
          <a:stretch/>
        </p:blipFill>
        <p:spPr>
          <a:xfrm>
            <a:off x="0" y="288969"/>
            <a:ext cx="3327400" cy="557636"/>
          </a:xfrm>
          <a:custGeom>
            <a:avLst/>
            <a:gdLst>
              <a:gd name="connsiteX0" fmla="*/ 0 w 3327400"/>
              <a:gd name="connsiteY0" fmla="*/ 0 h 557636"/>
              <a:gd name="connsiteX1" fmla="*/ 3234459 w 3327400"/>
              <a:gd name="connsiteY1" fmla="*/ 0 h 557636"/>
              <a:gd name="connsiteX2" fmla="*/ 3327400 w 3327400"/>
              <a:gd name="connsiteY2" fmla="*/ 92941 h 557636"/>
              <a:gd name="connsiteX3" fmla="*/ 3327400 w 3327400"/>
              <a:gd name="connsiteY3" fmla="*/ 464695 h 557636"/>
              <a:gd name="connsiteX4" fmla="*/ 3234459 w 3327400"/>
              <a:gd name="connsiteY4" fmla="*/ 557636 h 557636"/>
              <a:gd name="connsiteX5" fmla="*/ 0 w 3327400"/>
              <a:gd name="connsiteY5" fmla="*/ 557636 h 557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27400" h="557636">
                <a:moveTo>
                  <a:pt x="0" y="0"/>
                </a:moveTo>
                <a:lnTo>
                  <a:pt x="3234459" y="0"/>
                </a:lnTo>
                <a:cubicBezTo>
                  <a:pt x="3285789" y="0"/>
                  <a:pt x="3327400" y="41611"/>
                  <a:pt x="3327400" y="92941"/>
                </a:cubicBezTo>
                <a:lnTo>
                  <a:pt x="3327400" y="464695"/>
                </a:lnTo>
                <a:cubicBezTo>
                  <a:pt x="3327400" y="516025"/>
                  <a:pt x="3285789" y="557636"/>
                  <a:pt x="3234459" y="557636"/>
                </a:cubicBezTo>
                <a:lnTo>
                  <a:pt x="0" y="557636"/>
                </a:lnTo>
                <a:close/>
              </a:path>
            </a:pathLst>
          </a:cu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5B311F5-E604-16F1-6AC1-275B0747E7D6}"/>
              </a:ext>
            </a:extLst>
          </p:cNvPr>
          <p:cNvSpPr/>
          <p:nvPr/>
        </p:nvSpPr>
        <p:spPr bwMode="auto">
          <a:xfrm>
            <a:off x="-101600" y="288969"/>
            <a:ext cx="3429000" cy="557636"/>
          </a:xfrm>
          <a:prstGeom prst="roundRect">
            <a:avLst/>
          </a:prstGeom>
          <a:solidFill>
            <a:schemeClr val="accent3"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uk-UA" sz="2000" b="1" i="1" dirty="0">
                <a:solidFill>
                  <a:schemeClr val="bg1"/>
                </a:solidFill>
                <a:latin typeface="Fira Sans"/>
                <a:ea typeface="Calibri" panose="020F0502020204030204" pitchFamily="34" charset="0"/>
                <a:cs typeface="Calibri"/>
              </a:rPr>
              <a:t>Налаштуйте свій профіль</a:t>
            </a:r>
            <a:endParaRPr kumimoji="0" lang="en-US" sz="200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ira Sans"/>
              <a:ea typeface="Calibri" panose="020F0502020204030204" pitchFamily="34" charset="0"/>
              <a:cs typeface="Calibri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4AE9C6E-F4DB-C692-0A79-EA54A7CE135E}"/>
              </a:ext>
            </a:extLst>
          </p:cNvPr>
          <p:cNvGrpSpPr/>
          <p:nvPr/>
        </p:nvGrpSpPr>
        <p:grpSpPr>
          <a:xfrm>
            <a:off x="1876788" y="1258557"/>
            <a:ext cx="2901224" cy="919114"/>
            <a:chOff x="2718280" y="1406337"/>
            <a:chExt cx="2901224" cy="919114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0E05BB6D-2617-5D19-17B2-366FABAAD5B3}"/>
                </a:ext>
              </a:extLst>
            </p:cNvPr>
            <p:cNvSpPr txBox="1"/>
            <p:nvPr/>
          </p:nvSpPr>
          <p:spPr>
            <a:xfrm>
              <a:off x="2901160" y="1586787"/>
              <a:ext cx="2718344" cy="73866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uk-UA" dirty="0">
                  <a:latin typeface="Fira Sans" panose="020B0503050000020004" pitchFamily="34" charset="0"/>
                </a:rPr>
                <a:t>Натисніть </a:t>
              </a:r>
              <a:r>
                <a:rPr lang="uk-UA" b="1" dirty="0">
                  <a:latin typeface="Fira Sans" panose="020B0503050000020004" pitchFamily="34" charset="0"/>
                </a:rPr>
                <a:t>Переглянути профіль</a:t>
              </a:r>
              <a:endParaRPr lang="en-US" b="1" dirty="0">
                <a:latin typeface="Fira Sans" panose="020B0503050000020004" pitchFamily="34" charset="0"/>
              </a:endParaRPr>
            </a:p>
          </p:txBody>
        </p:sp>
        <p:sp>
          <p:nvSpPr>
            <p:cNvPr id="24" name="Flowchart: Connector 23">
              <a:extLst>
                <a:ext uri="{FF2B5EF4-FFF2-40B4-BE49-F238E27FC236}">
                  <a16:creationId xmlns:a16="http://schemas.microsoft.com/office/drawing/2014/main" id="{12B19A1A-C30C-3F67-CE8C-EFC28817DBF5}"/>
                </a:ext>
              </a:extLst>
            </p:cNvPr>
            <p:cNvSpPr/>
            <p:nvPr/>
          </p:nvSpPr>
          <p:spPr bwMode="auto">
            <a:xfrm>
              <a:off x="2718280" y="1406337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1</a:t>
              </a:r>
              <a:endParaRPr kumimoji="0" lang="en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sp>
        <p:nvSpPr>
          <p:cNvPr id="19" name="Oval 18">
            <a:extLst>
              <a:ext uri="{FF2B5EF4-FFF2-40B4-BE49-F238E27FC236}">
                <a16:creationId xmlns:a16="http://schemas.microsoft.com/office/drawing/2014/main" id="{05696296-ED2E-770A-F47E-B47911BDDCC0}"/>
              </a:ext>
            </a:extLst>
          </p:cNvPr>
          <p:cNvSpPr/>
          <p:nvPr/>
        </p:nvSpPr>
        <p:spPr bwMode="auto">
          <a:xfrm>
            <a:off x="1014005" y="3034774"/>
            <a:ext cx="693734" cy="187455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38E73684-2722-3ECD-8685-FE4BCE8AD1BB}"/>
              </a:ext>
            </a:extLst>
          </p:cNvPr>
          <p:cNvGrpSpPr/>
          <p:nvPr/>
        </p:nvGrpSpPr>
        <p:grpSpPr>
          <a:xfrm>
            <a:off x="3418840" y="2528575"/>
            <a:ext cx="2534510" cy="1443642"/>
            <a:chOff x="4056313" y="2388946"/>
            <a:chExt cx="2492518" cy="1211802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D812C36D-9263-EA41-4523-C3C445A68FE9}"/>
                </a:ext>
              </a:extLst>
            </p:cNvPr>
            <p:cNvSpPr txBox="1"/>
            <p:nvPr/>
          </p:nvSpPr>
          <p:spPr>
            <a:xfrm>
              <a:off x="4239823" y="2524340"/>
              <a:ext cx="2309008" cy="1076408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endParaRPr lang="ru-RU" dirty="0">
                <a:latin typeface="Fira Sans" panose="020B0503050000020004" pitchFamily="34" charset="0"/>
              </a:endParaRPr>
            </a:p>
            <a:p>
              <a:r>
                <a:rPr lang="ru-RU" dirty="0">
                  <a:latin typeface="Fira Sans" panose="020B0503050000020004" pitchFamily="34" charset="0"/>
                </a:rPr>
                <a:t>Перейдіть у Мої вподобання, виберіть </a:t>
              </a:r>
              <a:r>
                <a:rPr lang="ru-RU" b="1" dirty="0">
                  <a:latin typeface="Fira Sans" panose="020B0503050000020004" pitchFamily="34" charset="0"/>
                </a:rPr>
                <a:t>Вподобання щодо робочих змін</a:t>
              </a:r>
              <a:r>
                <a:rPr lang="ru-RU" dirty="0">
                  <a:latin typeface="Fira Sans" panose="020B0503050000020004" pitchFamily="34" charset="0"/>
                </a:rPr>
                <a:t> та </a:t>
              </a:r>
              <a:r>
                <a:rPr lang="ru-RU" b="1" dirty="0">
                  <a:latin typeface="Fira Sans" panose="020B0503050000020004" pitchFamily="34" charset="0"/>
                </a:rPr>
                <a:t>Особисті вподобання</a:t>
              </a:r>
            </a:p>
            <a:p>
              <a:endParaRPr lang="ru-RU" dirty="0">
                <a:latin typeface="Fira Sans" panose="020B0503050000020004" pitchFamily="34" charset="0"/>
              </a:endParaRPr>
            </a:p>
            <a:p>
              <a:endParaRPr lang="ru-RU" dirty="0">
                <a:latin typeface="Fira Sans" panose="020B0503050000020004" pitchFamily="34" charset="0"/>
              </a:endParaRPr>
            </a:p>
          </p:txBody>
        </p:sp>
        <p:sp>
          <p:nvSpPr>
            <p:cNvPr id="28" name="Flowchart: Connector 27">
              <a:extLst>
                <a:ext uri="{FF2B5EF4-FFF2-40B4-BE49-F238E27FC236}">
                  <a16:creationId xmlns:a16="http://schemas.microsoft.com/office/drawing/2014/main" id="{6DE976D7-D49A-244B-380A-CD46DD0ED078}"/>
                </a:ext>
              </a:extLst>
            </p:cNvPr>
            <p:cNvSpPr/>
            <p:nvPr/>
          </p:nvSpPr>
          <p:spPr bwMode="auto">
            <a:xfrm>
              <a:off x="4056313" y="2388946"/>
              <a:ext cx="420128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2</a:t>
              </a:r>
              <a:endParaRPr kumimoji="0" lang="en-US" sz="11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18440556-66F5-CF4A-9E1C-8E3B1FD72DB4}"/>
              </a:ext>
            </a:extLst>
          </p:cNvPr>
          <p:cNvGrpSpPr/>
          <p:nvPr/>
        </p:nvGrpSpPr>
        <p:grpSpPr>
          <a:xfrm>
            <a:off x="1361963" y="7786618"/>
            <a:ext cx="3494307" cy="1581141"/>
            <a:chOff x="1508378" y="8149645"/>
            <a:chExt cx="2443991" cy="842824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C5E9AA3D-A450-CBDD-620B-A41143EDCC9B}"/>
                </a:ext>
              </a:extLst>
            </p:cNvPr>
            <p:cNvSpPr txBox="1"/>
            <p:nvPr/>
          </p:nvSpPr>
          <p:spPr>
            <a:xfrm>
              <a:off x="1508378" y="8253806"/>
              <a:ext cx="2309008" cy="73866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ru-RU" b="1" dirty="0">
                  <a:latin typeface="Fira Sans" panose="020B0503050000020004" pitchFamily="34" charset="0"/>
                </a:rPr>
                <a:t>Особисті вподобання </a:t>
              </a:r>
              <a:r>
                <a:rPr lang="ru-RU" dirty="0">
                  <a:latin typeface="Fira Sans" panose="020B0503050000020004" pitchFamily="34" charset="0"/>
                </a:rPr>
                <a:t>включають домашніх тварин, куріння, мови, якими Ви розмовляєте, та види діяльності, які Вам подобається виконувати з клієнтами</a:t>
              </a:r>
            </a:p>
            <a:p>
              <a:endParaRPr lang="ru-RU" b="1" dirty="0">
                <a:latin typeface="Fira Sans" panose="020B0503050000020004" pitchFamily="34" charset="0"/>
              </a:endParaRPr>
            </a:p>
          </p:txBody>
        </p:sp>
        <p:sp>
          <p:nvSpPr>
            <p:cNvPr id="32" name="Flowchart: Connector 31">
              <a:extLst>
                <a:ext uri="{FF2B5EF4-FFF2-40B4-BE49-F238E27FC236}">
                  <a16:creationId xmlns:a16="http://schemas.microsoft.com/office/drawing/2014/main" id="{1FE2C972-D9DA-9F66-A4A3-A82D0CCFC975}"/>
                </a:ext>
              </a:extLst>
            </p:cNvPr>
            <p:cNvSpPr/>
            <p:nvPr/>
          </p:nvSpPr>
          <p:spPr bwMode="auto">
            <a:xfrm>
              <a:off x="3658542" y="8149645"/>
              <a:ext cx="293827" cy="244991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4</a:t>
              </a:r>
              <a:endParaRPr kumimoji="0" lang="en-US" sz="11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AA0ADF7-E640-DBCC-BA90-09B3A664331F}"/>
              </a:ext>
            </a:extLst>
          </p:cNvPr>
          <p:cNvGrpSpPr/>
          <p:nvPr/>
        </p:nvGrpSpPr>
        <p:grpSpPr>
          <a:xfrm>
            <a:off x="72252" y="6137976"/>
            <a:ext cx="3140044" cy="1728004"/>
            <a:chOff x="840828" y="7783562"/>
            <a:chExt cx="3140044" cy="1532707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AA1985BE-8B51-5A71-A9E8-17B6C8AC0573}"/>
                </a:ext>
              </a:extLst>
            </p:cNvPr>
            <p:cNvSpPr txBox="1"/>
            <p:nvPr/>
          </p:nvSpPr>
          <p:spPr>
            <a:xfrm>
              <a:off x="840828" y="7912833"/>
              <a:ext cx="3011912" cy="1403436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ru-RU" b="1" dirty="0">
                  <a:latin typeface="Fira Sans" panose="020B0503050000020004" pitchFamily="34" charset="0"/>
                </a:rPr>
                <a:t>Вподобання щодо робочих змін – </a:t>
              </a:r>
              <a:r>
                <a:rPr lang="ru-RU" dirty="0">
                  <a:latin typeface="Fira Sans" panose="020B0503050000020004" pitchFamily="34" charset="0"/>
                </a:rPr>
                <a:t>це </a:t>
              </a:r>
              <a:r>
                <a:rPr lang="ru-RU" b="1" dirty="0">
                  <a:latin typeface="Fira Sans" panose="020B0503050000020004" pitchFamily="34" charset="0"/>
                </a:rPr>
                <a:t>дні, час</a:t>
              </a:r>
              <a:r>
                <a:rPr lang="ru-RU" dirty="0">
                  <a:latin typeface="Fira Sans" panose="020B0503050000020004" pitchFamily="34" charset="0"/>
                </a:rPr>
                <a:t> і </a:t>
              </a:r>
              <a:r>
                <a:rPr lang="ru-RU" b="1" dirty="0">
                  <a:latin typeface="Fira Sans" panose="020B0503050000020004" pitchFamily="34" charset="0"/>
                </a:rPr>
                <a:t>максимальна кількість годин</a:t>
              </a:r>
              <a:r>
                <a:rPr lang="ru-RU" dirty="0">
                  <a:latin typeface="Fira Sans" panose="020B0503050000020004" pitchFamily="34" charset="0"/>
                </a:rPr>
                <a:t>, які Ви готові працювати, а також </a:t>
              </a:r>
              <a:r>
                <a:rPr lang="ru-RU" b="1" dirty="0">
                  <a:latin typeface="Fira Sans" panose="020B0503050000020004" pitchFamily="34" charset="0"/>
                </a:rPr>
                <a:t>відстань</a:t>
              </a:r>
              <a:r>
                <a:rPr lang="ru-RU" dirty="0">
                  <a:latin typeface="Fira Sans" panose="020B0503050000020004" pitchFamily="34" charset="0"/>
                </a:rPr>
                <a:t>, на яку Ви готові подорожувати до свого клієнта</a:t>
              </a:r>
              <a:endParaRPr lang="en-US" sz="1400" dirty="0">
                <a:latin typeface="Fira Sans" panose="020B0503050000020004" pitchFamily="34" charset="0"/>
              </a:endParaRPr>
            </a:p>
          </p:txBody>
        </p:sp>
        <p:sp>
          <p:nvSpPr>
            <p:cNvPr id="38" name="Flowchart: Connector 37">
              <a:extLst>
                <a:ext uri="{FF2B5EF4-FFF2-40B4-BE49-F238E27FC236}">
                  <a16:creationId xmlns:a16="http://schemas.microsoft.com/office/drawing/2014/main" id="{A800222C-DEC0-F814-755B-12CA3DB8FF07}"/>
                </a:ext>
              </a:extLst>
            </p:cNvPr>
            <p:cNvSpPr/>
            <p:nvPr/>
          </p:nvSpPr>
          <p:spPr bwMode="auto">
            <a:xfrm>
              <a:off x="3581518" y="7783562"/>
              <a:ext cx="399354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3</a:t>
              </a:r>
              <a:endParaRPr kumimoji="0" lang="en-US" sz="11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sp>
        <p:nvSpPr>
          <p:cNvPr id="11" name="Freeform 19">
            <a:extLst>
              <a:ext uri="{FF2B5EF4-FFF2-40B4-BE49-F238E27FC236}">
                <a16:creationId xmlns:a16="http://schemas.microsoft.com/office/drawing/2014/main" id="{FEFFC8C7-9836-274D-A1AB-791A0BB71E8D}"/>
              </a:ext>
            </a:extLst>
          </p:cNvPr>
          <p:cNvSpPr/>
          <p:nvPr/>
        </p:nvSpPr>
        <p:spPr>
          <a:xfrm>
            <a:off x="1741446" y="2344737"/>
            <a:ext cx="1611818" cy="3611866"/>
          </a:xfrm>
          <a:custGeom>
            <a:avLst/>
            <a:gdLst/>
            <a:ahLst/>
            <a:cxnLst/>
            <a:rect l="l" t="t" r="r" b="b"/>
            <a:pathLst>
              <a:path w="3201348" h="6597703">
                <a:moveTo>
                  <a:pt x="0" y="0"/>
                </a:moveTo>
                <a:lnTo>
                  <a:pt x="3201348" y="0"/>
                </a:lnTo>
                <a:lnTo>
                  <a:pt x="3201348" y="6597703"/>
                </a:lnTo>
                <a:lnTo>
                  <a:pt x="0" y="6597703"/>
                </a:lnTo>
                <a:lnTo>
                  <a:pt x="0" y="0"/>
                </a:lnTo>
                <a:close/>
              </a:path>
            </a:pathLst>
          </a:custGeom>
          <a:blipFill>
            <a:blip r:embed="rId6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3E75582A-58D4-48C4-1A41-3D9A1A7C91F4}"/>
              </a:ext>
            </a:extLst>
          </p:cNvPr>
          <p:cNvSpPr/>
          <p:nvPr/>
        </p:nvSpPr>
        <p:spPr bwMode="auto">
          <a:xfrm>
            <a:off x="1741446" y="4821612"/>
            <a:ext cx="905093" cy="292317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B215C86-D381-EFE5-E5E8-C622F51D8CDD}"/>
              </a:ext>
            </a:extLst>
          </p:cNvPr>
          <p:cNvSpPr/>
          <p:nvPr/>
        </p:nvSpPr>
        <p:spPr bwMode="auto">
          <a:xfrm>
            <a:off x="1769997" y="5096790"/>
            <a:ext cx="905093" cy="292317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09077E7-B992-F2E7-D4CC-758164662D6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07268" y="4124000"/>
            <a:ext cx="1720964" cy="3432447"/>
          </a:xfrm>
          <a:prstGeom prst="roundRect">
            <a:avLst/>
          </a:prstGeom>
        </p:spPr>
      </p:pic>
      <p:sp>
        <p:nvSpPr>
          <p:cNvPr id="42" name="Oval 41">
            <a:extLst>
              <a:ext uri="{FF2B5EF4-FFF2-40B4-BE49-F238E27FC236}">
                <a16:creationId xmlns:a16="http://schemas.microsoft.com/office/drawing/2014/main" id="{1DB042BB-1AF2-6D62-EEBF-0F56B1E1D9DC}"/>
              </a:ext>
            </a:extLst>
          </p:cNvPr>
          <p:cNvSpPr/>
          <p:nvPr/>
        </p:nvSpPr>
        <p:spPr bwMode="auto">
          <a:xfrm>
            <a:off x="3248708" y="5019603"/>
            <a:ext cx="1624574" cy="591915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9B5AE678-2324-DBB8-95C6-A2089A62883A}"/>
              </a:ext>
            </a:extLst>
          </p:cNvPr>
          <p:cNvSpPr/>
          <p:nvPr/>
        </p:nvSpPr>
        <p:spPr bwMode="auto">
          <a:xfrm>
            <a:off x="4222923" y="5534356"/>
            <a:ext cx="705309" cy="961104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98D6B2E0-CA4D-8E71-A7B6-9418AF5B4681}"/>
              </a:ext>
            </a:extLst>
          </p:cNvPr>
          <p:cNvSpPr/>
          <p:nvPr/>
        </p:nvSpPr>
        <p:spPr bwMode="auto">
          <a:xfrm>
            <a:off x="3231695" y="7080324"/>
            <a:ext cx="1624574" cy="365760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533EBD3-1138-76C1-0FD7-067B0A243B4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99506" y="6004765"/>
            <a:ext cx="1744539" cy="3423070"/>
          </a:xfrm>
          <a:prstGeom prst="roundRect">
            <a:avLst/>
          </a:prstGeom>
        </p:spPr>
      </p:pic>
    </p:spTree>
    <p:extLst>
      <p:ext uri="{BB962C8B-B14F-4D97-AF65-F5344CB8AC3E}">
        <p14:creationId xmlns:p14="http://schemas.microsoft.com/office/powerpoint/2010/main" val="2262446134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E9D1FA-7057-23D2-818F-5525A3E757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D8C7A13-3F1D-D4AE-4711-2AF62B6DEDD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90" t="15643" r="8290" b="63387"/>
          <a:stretch/>
        </p:blipFill>
        <p:spPr>
          <a:xfrm>
            <a:off x="0" y="288969"/>
            <a:ext cx="3327400" cy="557636"/>
          </a:xfrm>
          <a:custGeom>
            <a:avLst/>
            <a:gdLst>
              <a:gd name="connsiteX0" fmla="*/ 0 w 3327400"/>
              <a:gd name="connsiteY0" fmla="*/ 0 h 557636"/>
              <a:gd name="connsiteX1" fmla="*/ 3234459 w 3327400"/>
              <a:gd name="connsiteY1" fmla="*/ 0 h 557636"/>
              <a:gd name="connsiteX2" fmla="*/ 3327400 w 3327400"/>
              <a:gd name="connsiteY2" fmla="*/ 92941 h 557636"/>
              <a:gd name="connsiteX3" fmla="*/ 3327400 w 3327400"/>
              <a:gd name="connsiteY3" fmla="*/ 464695 h 557636"/>
              <a:gd name="connsiteX4" fmla="*/ 3234459 w 3327400"/>
              <a:gd name="connsiteY4" fmla="*/ 557636 h 557636"/>
              <a:gd name="connsiteX5" fmla="*/ 0 w 3327400"/>
              <a:gd name="connsiteY5" fmla="*/ 557636 h 557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27400" h="557636">
                <a:moveTo>
                  <a:pt x="0" y="0"/>
                </a:moveTo>
                <a:lnTo>
                  <a:pt x="3234459" y="0"/>
                </a:lnTo>
                <a:cubicBezTo>
                  <a:pt x="3285789" y="0"/>
                  <a:pt x="3327400" y="41611"/>
                  <a:pt x="3327400" y="92941"/>
                </a:cubicBezTo>
                <a:lnTo>
                  <a:pt x="3327400" y="464695"/>
                </a:lnTo>
                <a:cubicBezTo>
                  <a:pt x="3327400" y="516025"/>
                  <a:pt x="3285789" y="557636"/>
                  <a:pt x="3234459" y="557636"/>
                </a:cubicBezTo>
                <a:lnTo>
                  <a:pt x="0" y="557636"/>
                </a:lnTo>
                <a:close/>
              </a:path>
            </a:pathLst>
          </a:cu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16799A30-DF6D-4A47-1363-30FB41CF7004}"/>
              </a:ext>
            </a:extLst>
          </p:cNvPr>
          <p:cNvSpPr/>
          <p:nvPr/>
        </p:nvSpPr>
        <p:spPr bwMode="auto">
          <a:xfrm>
            <a:off x="-101600" y="237101"/>
            <a:ext cx="3530600" cy="635084"/>
          </a:xfrm>
          <a:prstGeom prst="roundRect">
            <a:avLst/>
          </a:prstGeom>
          <a:solidFill>
            <a:schemeClr val="accent3"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kumimoji="0" lang="uk-UA" sz="200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ra Sans"/>
                <a:ea typeface="Calibri" panose="020F0502020204030204" pitchFamily="34" charset="0"/>
                <a:cs typeface="Calibri"/>
              </a:rPr>
              <a:t>Оновлення бажаного імені</a:t>
            </a:r>
            <a:endParaRPr kumimoji="0" lang="en-US" sz="200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ira Sans"/>
              <a:ea typeface="Calibri" panose="020F0502020204030204" pitchFamily="34" charset="0"/>
              <a:cs typeface="Calibri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1879C8B-DB62-CF06-9DE6-79845F318B09}"/>
              </a:ext>
            </a:extLst>
          </p:cNvPr>
          <p:cNvGrpSpPr/>
          <p:nvPr/>
        </p:nvGrpSpPr>
        <p:grpSpPr>
          <a:xfrm>
            <a:off x="1958067" y="1229148"/>
            <a:ext cx="3104426" cy="919114"/>
            <a:chOff x="2718280" y="1406337"/>
            <a:chExt cx="2901223" cy="919114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BB99620-28B1-8235-3284-98BF01FFA625}"/>
                </a:ext>
              </a:extLst>
            </p:cNvPr>
            <p:cNvSpPr txBox="1"/>
            <p:nvPr/>
          </p:nvSpPr>
          <p:spPr>
            <a:xfrm>
              <a:off x="2950846" y="1586787"/>
              <a:ext cx="2668657" cy="73866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uk-UA" dirty="0">
                  <a:latin typeface="Fira Sans" panose="020B0503050000020004" pitchFamily="34" charset="0"/>
                </a:rPr>
                <a:t> Натисніть </a:t>
              </a:r>
              <a:r>
                <a:rPr lang="uk-UA" b="1" dirty="0">
                  <a:latin typeface="Fira Sans" panose="020B0503050000020004" pitchFamily="34" charset="0"/>
                </a:rPr>
                <a:t>Переглянути профіль</a:t>
              </a:r>
              <a:endParaRPr lang="en-US" b="1" dirty="0">
                <a:latin typeface="Fira Sans" panose="020B0503050000020004" pitchFamily="34" charset="0"/>
              </a:endParaRPr>
            </a:p>
          </p:txBody>
        </p:sp>
        <p:sp>
          <p:nvSpPr>
            <p:cNvPr id="24" name="Flowchart: Connector 23">
              <a:extLst>
                <a:ext uri="{FF2B5EF4-FFF2-40B4-BE49-F238E27FC236}">
                  <a16:creationId xmlns:a16="http://schemas.microsoft.com/office/drawing/2014/main" id="{54024E83-D961-FD52-64FE-94A072C7FDBB}"/>
                </a:ext>
              </a:extLst>
            </p:cNvPr>
            <p:cNvSpPr/>
            <p:nvPr/>
          </p:nvSpPr>
          <p:spPr bwMode="auto">
            <a:xfrm>
              <a:off x="2718280" y="1406337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1</a:t>
              </a:r>
              <a:endParaRPr kumimoji="0" lang="en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11D845E-FC2D-CB90-0408-0DBB88B44237}"/>
              </a:ext>
            </a:extLst>
          </p:cNvPr>
          <p:cNvGrpSpPr/>
          <p:nvPr/>
        </p:nvGrpSpPr>
        <p:grpSpPr>
          <a:xfrm>
            <a:off x="3327400" y="2566726"/>
            <a:ext cx="2830020" cy="916968"/>
            <a:chOff x="4022119" y="2487117"/>
            <a:chExt cx="2830020" cy="916968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BAEF8118-30E6-B71A-0831-10097BE84103}"/>
                </a:ext>
              </a:extLst>
            </p:cNvPr>
            <p:cNvSpPr txBox="1"/>
            <p:nvPr/>
          </p:nvSpPr>
          <p:spPr>
            <a:xfrm>
              <a:off x="4241814" y="2665422"/>
              <a:ext cx="2610325" cy="73866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uk-UA" sz="1400" dirty="0">
                  <a:latin typeface="Fira Sans" panose="020B0503050000020004" pitchFamily="34" charset="0"/>
                </a:rPr>
                <a:t>Натисніть </a:t>
              </a:r>
              <a:r>
                <a:rPr lang="uk-UA" sz="1400" b="1" dirty="0">
                  <a:latin typeface="Fira Sans" panose="020B0503050000020004" pitchFamily="34" charset="0"/>
                </a:rPr>
                <a:t>Переглянути мою інформацію</a:t>
              </a:r>
              <a:endParaRPr lang="en-US" sz="1400" b="1" dirty="0">
                <a:latin typeface="Fira Sans" panose="020B0503050000020004" pitchFamily="34" charset="0"/>
              </a:endParaRPr>
            </a:p>
          </p:txBody>
        </p:sp>
        <p:sp>
          <p:nvSpPr>
            <p:cNvPr id="28" name="Flowchart: Connector 27">
              <a:extLst>
                <a:ext uri="{FF2B5EF4-FFF2-40B4-BE49-F238E27FC236}">
                  <a16:creationId xmlns:a16="http://schemas.microsoft.com/office/drawing/2014/main" id="{3539832D-96D6-F03F-676F-2AAA6B6D562A}"/>
                </a:ext>
              </a:extLst>
            </p:cNvPr>
            <p:cNvSpPr/>
            <p:nvPr/>
          </p:nvSpPr>
          <p:spPr bwMode="auto">
            <a:xfrm>
              <a:off x="4022119" y="2487117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2</a:t>
              </a:r>
              <a:endParaRPr kumimoji="0" lang="en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159A7F0F-171A-3FB1-DE7C-B224FF4CE3AB}"/>
              </a:ext>
            </a:extLst>
          </p:cNvPr>
          <p:cNvGrpSpPr/>
          <p:nvPr/>
        </p:nvGrpSpPr>
        <p:grpSpPr>
          <a:xfrm>
            <a:off x="1122218" y="8063346"/>
            <a:ext cx="3363713" cy="1248884"/>
            <a:chOff x="587384" y="8040513"/>
            <a:chExt cx="2978755" cy="922430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305EDF95-1194-84F9-3DCE-34AA095F1445}"/>
                </a:ext>
              </a:extLst>
            </p:cNvPr>
            <p:cNvSpPr txBox="1"/>
            <p:nvPr/>
          </p:nvSpPr>
          <p:spPr>
            <a:xfrm>
              <a:off x="587384" y="8224280"/>
              <a:ext cx="2795875" cy="73866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uk-UA" sz="1400" dirty="0">
                  <a:latin typeface="Fira Sans" panose="020B0503050000020004" pitchFamily="34" charset="0"/>
                </a:rPr>
                <a:t>Оновлення чекає підтвердження буде відображатися доти, доки зміни не будуть затверджені</a:t>
              </a:r>
              <a:endParaRPr lang="en-US" sz="1400" dirty="0">
                <a:latin typeface="Fira Sans" panose="020B0503050000020004" pitchFamily="34" charset="0"/>
              </a:endParaRPr>
            </a:p>
          </p:txBody>
        </p:sp>
        <p:sp>
          <p:nvSpPr>
            <p:cNvPr id="32" name="Flowchart: Connector 31">
              <a:extLst>
                <a:ext uri="{FF2B5EF4-FFF2-40B4-BE49-F238E27FC236}">
                  <a16:creationId xmlns:a16="http://schemas.microsoft.com/office/drawing/2014/main" id="{1AF338BA-1245-CD12-0382-9B51D79E168C}"/>
                </a:ext>
              </a:extLst>
            </p:cNvPr>
            <p:cNvSpPr/>
            <p:nvPr/>
          </p:nvSpPr>
          <p:spPr bwMode="auto">
            <a:xfrm>
              <a:off x="3200379" y="8040513"/>
              <a:ext cx="365760" cy="277055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4</a:t>
              </a:r>
              <a:endParaRPr kumimoji="0" lang="en-US" sz="11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DFB1F58-8ED5-A2EF-691F-5A67D8C6947E}"/>
              </a:ext>
            </a:extLst>
          </p:cNvPr>
          <p:cNvGrpSpPr/>
          <p:nvPr/>
        </p:nvGrpSpPr>
        <p:grpSpPr>
          <a:xfrm>
            <a:off x="137693" y="6616954"/>
            <a:ext cx="2959163" cy="997611"/>
            <a:chOff x="710985" y="8065843"/>
            <a:chExt cx="3240801" cy="997611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F695F65E-D65B-652F-8725-1E3E981A0C81}"/>
                </a:ext>
              </a:extLst>
            </p:cNvPr>
            <p:cNvSpPr txBox="1"/>
            <p:nvPr/>
          </p:nvSpPr>
          <p:spPr>
            <a:xfrm>
              <a:off x="710985" y="8226697"/>
              <a:ext cx="3061972" cy="836757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endParaRPr lang="ru-RU" sz="1400" dirty="0">
                <a:latin typeface="Fira Sans" panose="020B0503050000020004" pitchFamily="34" charset="0"/>
              </a:endParaRPr>
            </a:p>
            <a:p>
              <a:r>
                <a:rPr lang="ru-RU" sz="1400" dirty="0">
                  <a:latin typeface="Fira Sans" panose="020B0503050000020004" pitchFamily="34" charset="0"/>
                </a:rPr>
                <a:t>Виберіть </a:t>
              </a:r>
              <a:r>
                <a:rPr lang="ru-RU" b="1" dirty="0">
                  <a:latin typeface="Fira Sans" panose="020B0503050000020004" pitchFamily="34" charset="0"/>
                </a:rPr>
                <a:t>Б</a:t>
              </a:r>
              <a:r>
                <a:rPr lang="ru-RU" sz="1400" b="1" dirty="0">
                  <a:latin typeface="Fira Sans" panose="020B0503050000020004" pitchFamily="34" charset="0"/>
                </a:rPr>
                <a:t>ажане ім’я та прізвище</a:t>
              </a:r>
              <a:r>
                <a:rPr lang="ru-RU" sz="1400" dirty="0">
                  <a:latin typeface="Fira Sans" panose="020B0503050000020004" pitchFamily="34" charset="0"/>
                </a:rPr>
                <a:t>, щоб змінити поточне ім’я</a:t>
              </a:r>
            </a:p>
            <a:p>
              <a:endParaRPr lang="ru-RU" sz="1400" dirty="0">
                <a:latin typeface="Fira Sans" panose="020B0503050000020004" pitchFamily="34" charset="0"/>
              </a:endParaRPr>
            </a:p>
          </p:txBody>
        </p:sp>
        <p:sp>
          <p:nvSpPr>
            <p:cNvPr id="38" name="Flowchart: Connector 37">
              <a:extLst>
                <a:ext uri="{FF2B5EF4-FFF2-40B4-BE49-F238E27FC236}">
                  <a16:creationId xmlns:a16="http://schemas.microsoft.com/office/drawing/2014/main" id="{6CF7BB74-4E91-3BC3-4B5A-ADF66CC702BF}"/>
                </a:ext>
              </a:extLst>
            </p:cNvPr>
            <p:cNvSpPr/>
            <p:nvPr/>
          </p:nvSpPr>
          <p:spPr bwMode="auto">
            <a:xfrm>
              <a:off x="3518054" y="8065843"/>
              <a:ext cx="433732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3</a:t>
              </a:r>
              <a:endParaRPr kumimoji="0" lang="en-US" sz="11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4439001C-69FF-1386-FF9B-A2550FDC422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0465" y="1035579"/>
            <a:ext cx="1596323" cy="3251178"/>
          </a:xfrm>
          <a:prstGeom prst="rect">
            <a:avLst/>
          </a:prstGeom>
        </p:spPr>
      </p:pic>
      <p:sp>
        <p:nvSpPr>
          <p:cNvPr id="19" name="Oval 18">
            <a:extLst>
              <a:ext uri="{FF2B5EF4-FFF2-40B4-BE49-F238E27FC236}">
                <a16:creationId xmlns:a16="http://schemas.microsoft.com/office/drawing/2014/main" id="{65C3D367-11C5-B264-41AA-6137549D988E}"/>
              </a:ext>
            </a:extLst>
          </p:cNvPr>
          <p:cNvSpPr/>
          <p:nvPr/>
        </p:nvSpPr>
        <p:spPr bwMode="auto">
          <a:xfrm>
            <a:off x="969966" y="2520692"/>
            <a:ext cx="693734" cy="187455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E1028E4-24DA-955D-0371-1921032FDD6D}"/>
              </a:ext>
            </a:extLst>
          </p:cNvPr>
          <p:cNvGrpSpPr/>
          <p:nvPr/>
        </p:nvGrpSpPr>
        <p:grpSpPr>
          <a:xfrm>
            <a:off x="1756194" y="2269413"/>
            <a:ext cx="1531709" cy="3383867"/>
            <a:chOff x="0" y="0"/>
            <a:chExt cx="3201348" cy="6597703"/>
          </a:xfrm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8D5D230B-CC0C-F4EB-52FC-3B696E7D20D3}"/>
                </a:ext>
              </a:extLst>
            </p:cNvPr>
            <p:cNvSpPr/>
            <p:nvPr/>
          </p:nvSpPr>
          <p:spPr>
            <a:xfrm>
              <a:off x="0" y="0"/>
              <a:ext cx="3201348" cy="6597703"/>
            </a:xfrm>
            <a:custGeom>
              <a:avLst/>
              <a:gdLst/>
              <a:ahLst/>
              <a:cxnLst/>
              <a:rect l="l" t="t" r="r" b="b"/>
              <a:pathLst>
                <a:path w="3201348" h="6597703">
                  <a:moveTo>
                    <a:pt x="0" y="0"/>
                  </a:moveTo>
                  <a:lnTo>
                    <a:pt x="3201348" y="0"/>
                  </a:lnTo>
                  <a:lnTo>
                    <a:pt x="3201348" y="6597703"/>
                  </a:lnTo>
                  <a:lnTo>
                    <a:pt x="0" y="659770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6"/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40" name="Oval 39">
            <a:extLst>
              <a:ext uri="{FF2B5EF4-FFF2-40B4-BE49-F238E27FC236}">
                <a16:creationId xmlns:a16="http://schemas.microsoft.com/office/drawing/2014/main" id="{656E8876-2325-B7D2-5A48-CBCD3A580F70}"/>
              </a:ext>
            </a:extLst>
          </p:cNvPr>
          <p:cNvSpPr/>
          <p:nvPr/>
        </p:nvSpPr>
        <p:spPr bwMode="auto">
          <a:xfrm>
            <a:off x="1840222" y="4074326"/>
            <a:ext cx="1363654" cy="263470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5" name="Group 14">
            <a:extLst>
              <a:ext uri="{FF2B5EF4-FFF2-40B4-BE49-F238E27FC236}">
                <a16:creationId xmlns:a16="http://schemas.microsoft.com/office/drawing/2014/main" id="{3B325D44-CB37-3F12-5E4D-187416B4D807}"/>
              </a:ext>
            </a:extLst>
          </p:cNvPr>
          <p:cNvGrpSpPr/>
          <p:nvPr/>
        </p:nvGrpSpPr>
        <p:grpSpPr>
          <a:xfrm>
            <a:off x="3161356" y="3661999"/>
            <a:ext cx="1611559" cy="3383867"/>
            <a:chOff x="0" y="0"/>
            <a:chExt cx="3201348" cy="6597703"/>
          </a:xfrm>
        </p:grpSpPr>
        <p:sp>
          <p:nvSpPr>
            <p:cNvPr id="6" name="Freeform 15">
              <a:extLst>
                <a:ext uri="{FF2B5EF4-FFF2-40B4-BE49-F238E27FC236}">
                  <a16:creationId xmlns:a16="http://schemas.microsoft.com/office/drawing/2014/main" id="{1E117660-3E88-7286-49CC-77ADD3746B62}"/>
                </a:ext>
              </a:extLst>
            </p:cNvPr>
            <p:cNvSpPr/>
            <p:nvPr/>
          </p:nvSpPr>
          <p:spPr>
            <a:xfrm>
              <a:off x="0" y="0"/>
              <a:ext cx="3201348" cy="6597703"/>
            </a:xfrm>
            <a:custGeom>
              <a:avLst/>
              <a:gdLst/>
              <a:ahLst/>
              <a:cxnLst/>
              <a:rect l="l" t="t" r="r" b="b"/>
              <a:pathLst>
                <a:path w="3201348" h="6597703">
                  <a:moveTo>
                    <a:pt x="0" y="0"/>
                  </a:moveTo>
                  <a:lnTo>
                    <a:pt x="3201348" y="0"/>
                  </a:lnTo>
                  <a:lnTo>
                    <a:pt x="3201348" y="6597703"/>
                  </a:lnTo>
                  <a:lnTo>
                    <a:pt x="0" y="659770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7"/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7" name="Oval 6">
            <a:extLst>
              <a:ext uri="{FF2B5EF4-FFF2-40B4-BE49-F238E27FC236}">
                <a16:creationId xmlns:a16="http://schemas.microsoft.com/office/drawing/2014/main" id="{F5E2CB7B-4EBE-40B5-583B-43EC022767E6}"/>
              </a:ext>
            </a:extLst>
          </p:cNvPr>
          <p:cNvSpPr/>
          <p:nvPr/>
        </p:nvSpPr>
        <p:spPr bwMode="auto">
          <a:xfrm>
            <a:off x="3248894" y="4563359"/>
            <a:ext cx="1363654" cy="263470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169A6FDE-770C-0298-BB65-64AC90E46F57}"/>
              </a:ext>
            </a:extLst>
          </p:cNvPr>
          <p:cNvSpPr/>
          <p:nvPr/>
        </p:nvSpPr>
        <p:spPr bwMode="auto">
          <a:xfrm>
            <a:off x="3248894" y="4867579"/>
            <a:ext cx="1363654" cy="263470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1" name="Group 12">
            <a:extLst>
              <a:ext uri="{FF2B5EF4-FFF2-40B4-BE49-F238E27FC236}">
                <a16:creationId xmlns:a16="http://schemas.microsoft.com/office/drawing/2014/main" id="{A2ED396C-F599-ED55-0AB7-826D9F8DF98B}"/>
              </a:ext>
            </a:extLst>
          </p:cNvPr>
          <p:cNvGrpSpPr/>
          <p:nvPr/>
        </p:nvGrpSpPr>
        <p:grpSpPr>
          <a:xfrm>
            <a:off x="4532847" y="5559032"/>
            <a:ext cx="1624574" cy="3383867"/>
            <a:chOff x="0" y="0"/>
            <a:chExt cx="3201348" cy="6597703"/>
          </a:xfrm>
        </p:grpSpPr>
        <p:sp>
          <p:nvSpPr>
            <p:cNvPr id="12" name="Freeform 13">
              <a:extLst>
                <a:ext uri="{FF2B5EF4-FFF2-40B4-BE49-F238E27FC236}">
                  <a16:creationId xmlns:a16="http://schemas.microsoft.com/office/drawing/2014/main" id="{E7C0B735-7163-E6ED-FD47-D78E08422081}"/>
                </a:ext>
              </a:extLst>
            </p:cNvPr>
            <p:cNvSpPr/>
            <p:nvPr/>
          </p:nvSpPr>
          <p:spPr>
            <a:xfrm>
              <a:off x="0" y="0"/>
              <a:ext cx="3201348" cy="6597703"/>
            </a:xfrm>
            <a:custGeom>
              <a:avLst/>
              <a:gdLst/>
              <a:ahLst/>
              <a:cxnLst/>
              <a:rect l="l" t="t" r="r" b="b"/>
              <a:pathLst>
                <a:path w="3201348" h="6597703">
                  <a:moveTo>
                    <a:pt x="0" y="0"/>
                  </a:moveTo>
                  <a:lnTo>
                    <a:pt x="3201348" y="0"/>
                  </a:lnTo>
                  <a:lnTo>
                    <a:pt x="3201348" y="6597703"/>
                  </a:lnTo>
                  <a:lnTo>
                    <a:pt x="0" y="659770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8"/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13" name="Oval 12">
            <a:extLst>
              <a:ext uri="{FF2B5EF4-FFF2-40B4-BE49-F238E27FC236}">
                <a16:creationId xmlns:a16="http://schemas.microsoft.com/office/drawing/2014/main" id="{C7BA5A56-1C5A-70F2-B943-33CF519BB1DF}"/>
              </a:ext>
            </a:extLst>
          </p:cNvPr>
          <p:cNvSpPr/>
          <p:nvPr/>
        </p:nvSpPr>
        <p:spPr bwMode="auto">
          <a:xfrm>
            <a:off x="4532847" y="6872663"/>
            <a:ext cx="1527812" cy="284729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8034694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880F51-A6A5-7244-575D-BF3175E32711}"/>
              </a:ext>
            </a:extLst>
          </p:cNvPr>
          <p:cNvSpPr/>
          <p:nvPr/>
        </p:nvSpPr>
        <p:spPr bwMode="auto">
          <a:xfrm>
            <a:off x="0" y="9212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06052F7-FFCF-3D54-7058-F7602DCC00C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90" t="15643" r="8290" b="63387"/>
          <a:stretch/>
        </p:blipFill>
        <p:spPr>
          <a:xfrm>
            <a:off x="0" y="288969"/>
            <a:ext cx="3327400" cy="557636"/>
          </a:xfrm>
          <a:custGeom>
            <a:avLst/>
            <a:gdLst>
              <a:gd name="connsiteX0" fmla="*/ 0 w 3327400"/>
              <a:gd name="connsiteY0" fmla="*/ 0 h 557636"/>
              <a:gd name="connsiteX1" fmla="*/ 3234459 w 3327400"/>
              <a:gd name="connsiteY1" fmla="*/ 0 h 557636"/>
              <a:gd name="connsiteX2" fmla="*/ 3327400 w 3327400"/>
              <a:gd name="connsiteY2" fmla="*/ 92941 h 557636"/>
              <a:gd name="connsiteX3" fmla="*/ 3327400 w 3327400"/>
              <a:gd name="connsiteY3" fmla="*/ 464695 h 557636"/>
              <a:gd name="connsiteX4" fmla="*/ 3234459 w 3327400"/>
              <a:gd name="connsiteY4" fmla="*/ 557636 h 557636"/>
              <a:gd name="connsiteX5" fmla="*/ 0 w 3327400"/>
              <a:gd name="connsiteY5" fmla="*/ 557636 h 557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27400" h="557636">
                <a:moveTo>
                  <a:pt x="0" y="0"/>
                </a:moveTo>
                <a:lnTo>
                  <a:pt x="3234459" y="0"/>
                </a:lnTo>
                <a:cubicBezTo>
                  <a:pt x="3285789" y="0"/>
                  <a:pt x="3327400" y="41611"/>
                  <a:pt x="3327400" y="92941"/>
                </a:cubicBezTo>
                <a:lnTo>
                  <a:pt x="3327400" y="464695"/>
                </a:lnTo>
                <a:cubicBezTo>
                  <a:pt x="3327400" y="516025"/>
                  <a:pt x="3285789" y="557636"/>
                  <a:pt x="3234459" y="557636"/>
                </a:cubicBezTo>
                <a:lnTo>
                  <a:pt x="0" y="557636"/>
                </a:lnTo>
                <a:close/>
              </a:path>
            </a:pathLst>
          </a:cu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5B311F5-E604-16F1-6AC1-275B0747E7D6}"/>
              </a:ext>
            </a:extLst>
          </p:cNvPr>
          <p:cNvSpPr/>
          <p:nvPr/>
        </p:nvSpPr>
        <p:spPr bwMode="auto">
          <a:xfrm>
            <a:off x="-101600" y="216228"/>
            <a:ext cx="3479352" cy="669239"/>
          </a:xfrm>
          <a:prstGeom prst="roundRect">
            <a:avLst/>
          </a:prstGeom>
          <a:solidFill>
            <a:schemeClr val="accent3"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kumimoji="0" lang="uk-UA" sz="200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ra Sans"/>
                <a:ea typeface="Calibri" panose="020F0502020204030204" pitchFamily="34" charset="0"/>
                <a:cs typeface="Calibri"/>
              </a:rPr>
              <a:t>Перегляд платіжної відомості</a:t>
            </a:r>
            <a:endParaRPr kumimoji="0" lang="en-US" sz="200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ira Sans" panose="020B05030500000200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D8B3FC70-9F3D-0C82-FCFE-4D88538B22C8}"/>
              </a:ext>
            </a:extLst>
          </p:cNvPr>
          <p:cNvGrpSpPr/>
          <p:nvPr/>
        </p:nvGrpSpPr>
        <p:grpSpPr>
          <a:xfrm>
            <a:off x="2528502" y="1008577"/>
            <a:ext cx="3278364" cy="919114"/>
            <a:chOff x="2718280" y="1406337"/>
            <a:chExt cx="3278364" cy="919114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A8D113B-ACBF-2B42-C84D-5A07619850F0}"/>
                </a:ext>
              </a:extLst>
            </p:cNvPr>
            <p:cNvSpPr txBox="1"/>
            <p:nvPr/>
          </p:nvSpPr>
          <p:spPr>
            <a:xfrm>
              <a:off x="2901159" y="1586787"/>
              <a:ext cx="3095485" cy="73866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ru-RU" dirty="0">
                  <a:latin typeface="Fira Sans" panose="020B0503050000020004" pitchFamily="34" charset="0"/>
                </a:rPr>
                <a:t>Натисніть </a:t>
              </a:r>
              <a:r>
                <a:rPr lang="ru-RU" b="1" dirty="0">
                  <a:latin typeface="Fira Sans" panose="020B0503050000020004" pitchFamily="34" charset="0"/>
                </a:rPr>
                <a:t>Переглянути платіжні відомості</a:t>
              </a:r>
              <a:r>
                <a:rPr lang="ru-RU" dirty="0">
                  <a:latin typeface="Fira Sans" panose="020B0503050000020004" pitchFamily="34" charset="0"/>
                </a:rPr>
                <a:t>, щоб побачити поточні та попередні відомості</a:t>
              </a:r>
              <a:endParaRPr lang="en-US" dirty="0">
                <a:latin typeface="Fira Sans" panose="020B0503050000020004" pitchFamily="34" charset="0"/>
              </a:endParaRPr>
            </a:p>
          </p:txBody>
        </p:sp>
        <p:sp>
          <p:nvSpPr>
            <p:cNvPr id="31" name="Flowchart: Connector 30">
              <a:extLst>
                <a:ext uri="{FF2B5EF4-FFF2-40B4-BE49-F238E27FC236}">
                  <a16:creationId xmlns:a16="http://schemas.microsoft.com/office/drawing/2014/main" id="{747ACB4D-D2B0-D401-42DC-C8A2404A1533}"/>
                </a:ext>
              </a:extLst>
            </p:cNvPr>
            <p:cNvSpPr/>
            <p:nvPr/>
          </p:nvSpPr>
          <p:spPr bwMode="auto">
            <a:xfrm>
              <a:off x="2718280" y="1406337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1</a:t>
              </a:r>
              <a:endParaRPr kumimoji="0" lang="en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23567F75-6FD8-1512-2420-786F40A59B07}"/>
              </a:ext>
            </a:extLst>
          </p:cNvPr>
          <p:cNvSpPr/>
          <p:nvPr/>
        </p:nvSpPr>
        <p:spPr bwMode="auto">
          <a:xfrm>
            <a:off x="1983252" y="1842035"/>
            <a:ext cx="495014" cy="169645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B986086-1152-F08A-97F0-88A0C3BA692D}"/>
              </a:ext>
            </a:extLst>
          </p:cNvPr>
          <p:cNvSpPr txBox="1"/>
          <p:nvPr/>
        </p:nvSpPr>
        <p:spPr>
          <a:xfrm>
            <a:off x="1706840" y="2093730"/>
            <a:ext cx="558876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800" b="1">
                <a:solidFill>
                  <a:schemeClr val="accent3"/>
                </a:solidFill>
              </a:rPr>
              <a:t>$250.00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A3B45D3-CE94-AC06-8633-52FA8F04C1B8}"/>
              </a:ext>
            </a:extLst>
          </p:cNvPr>
          <p:cNvSpPr/>
          <p:nvPr/>
        </p:nvSpPr>
        <p:spPr bwMode="auto">
          <a:xfrm>
            <a:off x="1844404" y="4231831"/>
            <a:ext cx="421311" cy="12738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8C6F0CB-2A38-15E5-4BBE-E16CDBAA4299}"/>
              </a:ext>
            </a:extLst>
          </p:cNvPr>
          <p:cNvSpPr txBox="1"/>
          <p:nvPr/>
        </p:nvSpPr>
        <p:spPr>
          <a:xfrm>
            <a:off x="1700010" y="4186676"/>
            <a:ext cx="6885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/>
              <a:t>$250.00</a:t>
            </a: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D890AE74-A06C-F07C-C06F-BED7846055BD}"/>
              </a:ext>
            </a:extLst>
          </p:cNvPr>
          <p:cNvGrpSpPr/>
          <p:nvPr/>
        </p:nvGrpSpPr>
        <p:grpSpPr>
          <a:xfrm>
            <a:off x="659139" y="7029196"/>
            <a:ext cx="2776536" cy="1178530"/>
            <a:chOff x="1184185" y="7926020"/>
            <a:chExt cx="2776536" cy="1178530"/>
          </a:xfrm>
        </p:grpSpPr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17F7DD55-F2FD-1834-D08B-1D38B77C542D}"/>
                </a:ext>
              </a:extLst>
            </p:cNvPr>
            <p:cNvSpPr txBox="1"/>
            <p:nvPr/>
          </p:nvSpPr>
          <p:spPr>
            <a:xfrm>
              <a:off x="1184185" y="8098433"/>
              <a:ext cx="2608825" cy="1006117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ru-RU" sz="1400" dirty="0">
                  <a:latin typeface="Fira Sans" panose="020B0503050000020004" pitchFamily="34" charset="0"/>
                </a:rPr>
                <a:t>Натисніть </a:t>
              </a:r>
              <a:r>
                <a:rPr lang="ru-RU" sz="1400" b="1" dirty="0">
                  <a:latin typeface="Fira Sans" panose="020B0503050000020004" pitchFamily="34" charset="0"/>
                </a:rPr>
                <a:t>Попередні</a:t>
              </a:r>
              <a:r>
                <a:rPr lang="ru-RU" sz="1400" dirty="0">
                  <a:latin typeface="Fira Sans" panose="020B0503050000020004" pitchFamily="34" charset="0"/>
                </a:rPr>
                <a:t> та виберіть дату, щоб переглянути попередню платіжну відомість</a:t>
              </a:r>
              <a:endParaRPr lang="en-US" sz="1400" dirty="0">
                <a:latin typeface="Fira Sans" panose="020B0503050000020004" pitchFamily="34" charset="0"/>
              </a:endParaRPr>
            </a:p>
          </p:txBody>
        </p:sp>
        <p:sp>
          <p:nvSpPr>
            <p:cNvPr id="60" name="Flowchart: Connector 59">
              <a:extLst>
                <a:ext uri="{FF2B5EF4-FFF2-40B4-BE49-F238E27FC236}">
                  <a16:creationId xmlns:a16="http://schemas.microsoft.com/office/drawing/2014/main" id="{C03E735C-F1C4-7EC7-115B-64E3FA3FE0DB}"/>
                </a:ext>
              </a:extLst>
            </p:cNvPr>
            <p:cNvSpPr/>
            <p:nvPr/>
          </p:nvSpPr>
          <p:spPr bwMode="auto">
            <a:xfrm>
              <a:off x="3594961" y="7926020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3</a:t>
              </a:r>
              <a:endParaRPr kumimoji="0" lang="en-US" sz="11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E98D3D65-456F-FE7D-AE14-50D33069426F}"/>
              </a:ext>
            </a:extLst>
          </p:cNvPr>
          <p:cNvGrpSpPr/>
          <p:nvPr/>
        </p:nvGrpSpPr>
        <p:grpSpPr>
          <a:xfrm>
            <a:off x="4087129" y="2282976"/>
            <a:ext cx="2660631" cy="1367952"/>
            <a:chOff x="4051984" y="2044074"/>
            <a:chExt cx="2361200" cy="1367952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B801731D-BF52-7295-13C9-C2986126142A}"/>
                </a:ext>
              </a:extLst>
            </p:cNvPr>
            <p:cNvSpPr txBox="1"/>
            <p:nvPr/>
          </p:nvSpPr>
          <p:spPr>
            <a:xfrm>
              <a:off x="4279946" y="2256348"/>
              <a:ext cx="2133238" cy="1155678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ru-RU" sz="1400" dirty="0">
                  <a:latin typeface="Fira Sans" panose="020B0503050000020004" pitchFamily="34" charset="0"/>
                </a:rPr>
                <a:t>Натисніть </a:t>
              </a:r>
              <a:r>
                <a:rPr lang="ru-RU" sz="1400" b="1" dirty="0">
                  <a:latin typeface="Fira Sans" panose="020B0503050000020004" pitchFamily="34" charset="0"/>
                </a:rPr>
                <a:t>Поточні</a:t>
              </a:r>
              <a:r>
                <a:rPr lang="ru-RU" sz="1400" dirty="0">
                  <a:latin typeface="Fira Sans" panose="020B0503050000020004" pitchFamily="34" charset="0"/>
                </a:rPr>
                <a:t>, а потім </a:t>
              </a:r>
              <a:r>
                <a:rPr lang="ru-RU" sz="1400" b="1" dirty="0">
                  <a:latin typeface="Fira Sans" panose="020B0503050000020004" pitchFamily="34" charset="0"/>
                </a:rPr>
                <a:t>Переглянути платіжну відомість</a:t>
              </a:r>
              <a:r>
                <a:rPr lang="ru-RU" sz="1400" dirty="0">
                  <a:latin typeface="Fira Sans" panose="020B0503050000020004" pitchFamily="34" charset="0"/>
                </a:rPr>
                <a:t>, щоб переглянути Вашу </a:t>
              </a:r>
              <a:r>
                <a:rPr lang="ru-RU" sz="1400" b="1" dirty="0">
                  <a:latin typeface="Fira Sans" panose="020B0503050000020004" pitchFamily="34" charset="0"/>
                </a:rPr>
                <a:t>останню відомість</a:t>
              </a:r>
              <a:endParaRPr lang="en-US" sz="1400" b="1" dirty="0">
                <a:latin typeface="Fira Sans" panose="020B0503050000020004" pitchFamily="34" charset="0"/>
              </a:endParaRPr>
            </a:p>
          </p:txBody>
        </p:sp>
        <p:sp>
          <p:nvSpPr>
            <p:cNvPr id="35" name="Flowchart: Connector 34">
              <a:extLst>
                <a:ext uri="{FF2B5EF4-FFF2-40B4-BE49-F238E27FC236}">
                  <a16:creationId xmlns:a16="http://schemas.microsoft.com/office/drawing/2014/main" id="{D0ED3A71-D514-F770-DF2E-401019A5B7D7}"/>
                </a:ext>
              </a:extLst>
            </p:cNvPr>
            <p:cNvSpPr/>
            <p:nvPr/>
          </p:nvSpPr>
          <p:spPr bwMode="auto">
            <a:xfrm>
              <a:off x="4051984" y="2044074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2</a:t>
              </a:r>
              <a:endParaRPr kumimoji="0" lang="en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pic>
        <p:nvPicPr>
          <p:cNvPr id="2" name="Graphic 1">
            <a:extLst>
              <a:ext uri="{FF2B5EF4-FFF2-40B4-BE49-F238E27FC236}">
                <a16:creationId xmlns:a16="http://schemas.microsoft.com/office/drawing/2014/main" id="{F7082759-064D-BD97-C9C7-6B426C7D524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808673" y="8711582"/>
            <a:ext cx="1073746" cy="557636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B28042D-469A-4072-C946-449E23E5012B}"/>
              </a:ext>
            </a:extLst>
          </p:cNvPr>
          <p:cNvSpPr txBox="1"/>
          <p:nvPr/>
        </p:nvSpPr>
        <p:spPr>
          <a:xfrm>
            <a:off x="6375400" y="8961441"/>
            <a:ext cx="1754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5336E3A-0AE3-4E73-86CC-16EB33DA15BF}" type="slidenum">
              <a:rPr kumimoji="0" 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Arial" charset="0"/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58E278B8-9105-82D0-590E-82660FCE2DF8}"/>
              </a:ext>
            </a:extLst>
          </p:cNvPr>
          <p:cNvGrpSpPr/>
          <p:nvPr/>
        </p:nvGrpSpPr>
        <p:grpSpPr>
          <a:xfrm>
            <a:off x="1195901" y="8276305"/>
            <a:ext cx="2923043" cy="1156095"/>
            <a:chOff x="986586" y="7939830"/>
            <a:chExt cx="2923043" cy="1156095"/>
          </a:xfrm>
        </p:grpSpPr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0A2BE4FE-B6E8-199D-2055-683C9424178C}"/>
                </a:ext>
              </a:extLst>
            </p:cNvPr>
            <p:cNvSpPr txBox="1"/>
            <p:nvPr/>
          </p:nvSpPr>
          <p:spPr>
            <a:xfrm>
              <a:off x="986586" y="8109800"/>
              <a:ext cx="2761295" cy="986125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ru-RU" sz="1400" dirty="0">
                  <a:latin typeface="Fira Sans"/>
                  <a:cs typeface="Arial"/>
                </a:rPr>
                <a:t>Натисніть на </a:t>
              </a:r>
              <a:r>
                <a:rPr lang="ru-RU" sz="1400" b="1" dirty="0">
                  <a:latin typeface="Fira Sans"/>
                  <a:cs typeface="Arial"/>
                </a:rPr>
                <a:t>значок стрілки</a:t>
              </a:r>
              <a:r>
                <a:rPr lang="ru-RU" sz="1400" dirty="0">
                  <a:latin typeface="Fira Sans"/>
                  <a:cs typeface="Arial"/>
                </a:rPr>
                <a:t>, щоб переглянути, завантажити або роздрукувати платіжну відомість</a:t>
              </a:r>
            </a:p>
          </p:txBody>
        </p:sp>
        <p:sp>
          <p:nvSpPr>
            <p:cNvPr id="52" name="Flowchart: Connector 51">
              <a:extLst>
                <a:ext uri="{FF2B5EF4-FFF2-40B4-BE49-F238E27FC236}">
                  <a16:creationId xmlns:a16="http://schemas.microsoft.com/office/drawing/2014/main" id="{080F5824-F843-EA09-A023-920CC16AD19E}"/>
                </a:ext>
              </a:extLst>
            </p:cNvPr>
            <p:cNvSpPr/>
            <p:nvPr/>
          </p:nvSpPr>
          <p:spPr bwMode="auto">
            <a:xfrm>
              <a:off x="3543869" y="7939830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4</a:t>
              </a:r>
              <a:endParaRPr kumimoji="0" lang="en-US" sz="11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sp>
        <p:nvSpPr>
          <p:cNvPr id="56" name="Oval 55">
            <a:extLst>
              <a:ext uri="{FF2B5EF4-FFF2-40B4-BE49-F238E27FC236}">
                <a16:creationId xmlns:a16="http://schemas.microsoft.com/office/drawing/2014/main" id="{FF356CD9-2242-32E3-0B97-590F7F3477A8}"/>
              </a:ext>
            </a:extLst>
          </p:cNvPr>
          <p:cNvSpPr/>
          <p:nvPr/>
        </p:nvSpPr>
        <p:spPr bwMode="auto">
          <a:xfrm>
            <a:off x="6216538" y="6470250"/>
            <a:ext cx="464034" cy="409277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en-US"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1D21C44-AC4F-67E2-3B41-6D8DF0D876A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2593" y="1019090"/>
            <a:ext cx="1953122" cy="4093126"/>
          </a:xfrm>
          <a:prstGeom prst="rect">
            <a:avLst/>
          </a:prstGeom>
        </p:spPr>
      </p:pic>
      <p:sp>
        <p:nvSpPr>
          <p:cNvPr id="13" name="Oval 12">
            <a:extLst>
              <a:ext uri="{FF2B5EF4-FFF2-40B4-BE49-F238E27FC236}">
                <a16:creationId xmlns:a16="http://schemas.microsoft.com/office/drawing/2014/main" id="{11CFDD43-111F-798F-1BAF-B50104F79A22}"/>
              </a:ext>
            </a:extLst>
          </p:cNvPr>
          <p:cNvSpPr/>
          <p:nvPr/>
        </p:nvSpPr>
        <p:spPr bwMode="auto">
          <a:xfrm>
            <a:off x="643107" y="2201452"/>
            <a:ext cx="1098567" cy="230832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3EE634A1-3AF3-639E-1A7B-F90C77646C2C}"/>
              </a:ext>
            </a:extLst>
          </p:cNvPr>
          <p:cNvGrpSpPr/>
          <p:nvPr/>
        </p:nvGrpSpPr>
        <p:grpSpPr>
          <a:xfrm>
            <a:off x="2100354" y="2481659"/>
            <a:ext cx="2127195" cy="4368424"/>
            <a:chOff x="8045428" y="1324839"/>
            <a:chExt cx="2190120" cy="4374223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88EF085F-DC73-D0D4-A62E-5DFF8A28EB0C}"/>
                </a:ext>
              </a:extLst>
            </p:cNvPr>
            <p:cNvGrpSpPr/>
            <p:nvPr/>
          </p:nvGrpSpPr>
          <p:grpSpPr>
            <a:xfrm>
              <a:off x="8045428" y="1324839"/>
              <a:ext cx="2190120" cy="4374223"/>
              <a:chOff x="8045428" y="1324839"/>
              <a:chExt cx="2190120" cy="4374223"/>
            </a:xfrm>
          </p:grpSpPr>
          <p:pic>
            <p:nvPicPr>
              <p:cNvPr id="22" name="Picture 21">
                <a:extLst>
                  <a:ext uri="{FF2B5EF4-FFF2-40B4-BE49-F238E27FC236}">
                    <a16:creationId xmlns:a16="http://schemas.microsoft.com/office/drawing/2014/main" id="{44774D6B-401E-D580-E507-6F61F9552BC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8045428" y="1324839"/>
                <a:ext cx="2190120" cy="4374223"/>
              </a:xfrm>
              <a:prstGeom prst="roundRect">
                <a:avLst/>
              </a:prstGeom>
            </p:spPr>
          </p:pic>
          <p:pic>
            <p:nvPicPr>
              <p:cNvPr id="24" name="Picture 2">
                <a:extLst>
                  <a:ext uri="{FF2B5EF4-FFF2-40B4-BE49-F238E27FC236}">
                    <a16:creationId xmlns:a16="http://schemas.microsoft.com/office/drawing/2014/main" id="{B42B77EC-66AE-2086-E9C9-E65E19303E3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164895" y="1455575"/>
                <a:ext cx="1968808" cy="4086809"/>
              </a:xfrm>
              <a:prstGeom prst="roundRect">
                <a:avLst/>
              </a:prstGeom>
              <a:ln w="19050">
                <a:solidFill>
                  <a:srgbClr val="000000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6A001C74-50E3-7A87-628F-47CB1386CB74}"/>
                </a:ext>
              </a:extLst>
            </p:cNvPr>
            <p:cNvSpPr/>
            <p:nvPr/>
          </p:nvSpPr>
          <p:spPr bwMode="auto">
            <a:xfrm>
              <a:off x="8389084" y="1846670"/>
              <a:ext cx="624287" cy="292696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43E7FAB1-1494-8543-C819-ED6CF6618C63}"/>
                </a:ext>
              </a:extLst>
            </p:cNvPr>
            <p:cNvSpPr/>
            <p:nvPr/>
          </p:nvSpPr>
          <p:spPr bwMode="auto">
            <a:xfrm>
              <a:off x="8191689" y="3038333"/>
              <a:ext cx="1127539" cy="292696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algn="l"/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661FC78C-ACBF-8CB1-85AB-4F3B8329DDDE}"/>
              </a:ext>
            </a:extLst>
          </p:cNvPr>
          <p:cNvGrpSpPr/>
          <p:nvPr/>
        </p:nvGrpSpPr>
        <p:grpSpPr>
          <a:xfrm>
            <a:off x="3497859" y="3836895"/>
            <a:ext cx="2309008" cy="4370832"/>
            <a:chOff x="7468774" y="5236189"/>
            <a:chExt cx="2190120" cy="4374223"/>
          </a:xfrm>
        </p:grpSpPr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A09AFCA4-CD86-C4AF-FCA6-4E4841637B3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468774" y="5236189"/>
              <a:ext cx="2190120" cy="4374223"/>
            </a:xfrm>
            <a:prstGeom prst="roundRect">
              <a:avLst/>
            </a:prstGeom>
          </p:spPr>
        </p:pic>
        <p:pic>
          <p:nvPicPr>
            <p:cNvPr id="29" name="Picture 4">
              <a:extLst>
                <a:ext uri="{FF2B5EF4-FFF2-40B4-BE49-F238E27FC236}">
                  <a16:creationId xmlns:a16="http://schemas.microsoft.com/office/drawing/2014/main" id="{1DE50D8A-3486-56B7-1838-EA8314C50B9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86739" y="5331345"/>
              <a:ext cx="1931772" cy="4181588"/>
            </a:xfrm>
            <a:prstGeom prst="roundRect">
              <a:avLst/>
            </a:prstGeom>
            <a:ln w="19050">
              <a:solidFill>
                <a:srgbClr val="000000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3BA7CD6E-FEB7-2C3F-C0F6-C70B8E8A9ACC}"/>
                </a:ext>
              </a:extLst>
            </p:cNvPr>
            <p:cNvSpPr/>
            <p:nvPr/>
          </p:nvSpPr>
          <p:spPr bwMode="auto">
            <a:xfrm>
              <a:off x="8535538" y="5761733"/>
              <a:ext cx="942823" cy="253107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algn="l"/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E0C54983-81D4-CE78-7598-44EA8BC035DF}"/>
                </a:ext>
              </a:extLst>
            </p:cNvPr>
            <p:cNvSpPr/>
            <p:nvPr/>
          </p:nvSpPr>
          <p:spPr bwMode="auto">
            <a:xfrm>
              <a:off x="7563369" y="6577376"/>
              <a:ext cx="2000929" cy="362260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algn="l"/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</p:grpSp>
      <p:pic>
        <p:nvPicPr>
          <p:cNvPr id="126" name="Picture 125">
            <a:extLst>
              <a:ext uri="{FF2B5EF4-FFF2-40B4-BE49-F238E27FC236}">
                <a16:creationId xmlns:a16="http://schemas.microsoft.com/office/drawing/2014/main" id="{47F41242-9B1D-E598-70FE-028F481110DE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b="22010"/>
          <a:stretch/>
        </p:blipFill>
        <p:spPr>
          <a:xfrm>
            <a:off x="4206387" y="6493570"/>
            <a:ext cx="2446679" cy="2902316"/>
          </a:xfrm>
          <a:prstGeom prst="rect">
            <a:avLst/>
          </a:prstGeom>
          <a:ln w="19050">
            <a:solidFill>
              <a:srgbClr val="000000"/>
            </a:solidFill>
          </a:ln>
        </p:spPr>
      </p:pic>
    </p:spTree>
    <p:extLst>
      <p:ext uri="{BB962C8B-B14F-4D97-AF65-F5344CB8AC3E}">
        <p14:creationId xmlns:p14="http://schemas.microsoft.com/office/powerpoint/2010/main" val="2600657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93B6FC-80E9-9C14-4A23-6ADEE2F9FF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FADC110-0A5F-3DC7-0241-70D9EA9AB97A}"/>
              </a:ext>
            </a:extLst>
          </p:cNvPr>
          <p:cNvSpPr/>
          <p:nvPr/>
        </p:nvSpPr>
        <p:spPr bwMode="auto">
          <a:xfrm>
            <a:off x="0" y="66102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A64A1ED-F1D4-E8F4-0480-4824C14B56F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90" t="15643" r="8290" b="63387"/>
          <a:stretch/>
        </p:blipFill>
        <p:spPr>
          <a:xfrm>
            <a:off x="0" y="288969"/>
            <a:ext cx="3327400" cy="557636"/>
          </a:xfrm>
          <a:custGeom>
            <a:avLst/>
            <a:gdLst>
              <a:gd name="connsiteX0" fmla="*/ 0 w 3327400"/>
              <a:gd name="connsiteY0" fmla="*/ 0 h 557636"/>
              <a:gd name="connsiteX1" fmla="*/ 3234459 w 3327400"/>
              <a:gd name="connsiteY1" fmla="*/ 0 h 557636"/>
              <a:gd name="connsiteX2" fmla="*/ 3327400 w 3327400"/>
              <a:gd name="connsiteY2" fmla="*/ 92941 h 557636"/>
              <a:gd name="connsiteX3" fmla="*/ 3327400 w 3327400"/>
              <a:gd name="connsiteY3" fmla="*/ 464695 h 557636"/>
              <a:gd name="connsiteX4" fmla="*/ 3234459 w 3327400"/>
              <a:gd name="connsiteY4" fmla="*/ 557636 h 557636"/>
              <a:gd name="connsiteX5" fmla="*/ 0 w 3327400"/>
              <a:gd name="connsiteY5" fmla="*/ 557636 h 557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27400" h="557636">
                <a:moveTo>
                  <a:pt x="0" y="0"/>
                </a:moveTo>
                <a:lnTo>
                  <a:pt x="3234459" y="0"/>
                </a:lnTo>
                <a:cubicBezTo>
                  <a:pt x="3285789" y="0"/>
                  <a:pt x="3327400" y="41611"/>
                  <a:pt x="3327400" y="92941"/>
                </a:cubicBezTo>
                <a:lnTo>
                  <a:pt x="3327400" y="464695"/>
                </a:lnTo>
                <a:cubicBezTo>
                  <a:pt x="3327400" y="516025"/>
                  <a:pt x="3285789" y="557636"/>
                  <a:pt x="3234459" y="557636"/>
                </a:cubicBezTo>
                <a:lnTo>
                  <a:pt x="0" y="557636"/>
                </a:lnTo>
                <a:close/>
              </a:path>
            </a:pathLst>
          </a:cu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98DA3CA1-3808-D607-58B6-D92903ADBE0C}"/>
              </a:ext>
            </a:extLst>
          </p:cNvPr>
          <p:cNvSpPr/>
          <p:nvPr/>
        </p:nvSpPr>
        <p:spPr bwMode="auto">
          <a:xfrm>
            <a:off x="-101600" y="245607"/>
            <a:ext cx="3429000" cy="645622"/>
          </a:xfrm>
          <a:prstGeom prst="roundRect">
            <a:avLst/>
          </a:prstGeom>
          <a:solidFill>
            <a:schemeClr val="accent3"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kumimoji="0" lang="uk-UA" sz="200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ra Sans"/>
                <a:ea typeface="Calibri" panose="020F0502020204030204" pitchFamily="34" charset="0"/>
                <a:cs typeface="Calibri"/>
              </a:rPr>
              <a:t>Перегляд ваших податкових документів</a:t>
            </a:r>
            <a:endParaRPr kumimoji="0" lang="en-US" sz="200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ira Sans" panose="020B05030500000200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0EF737DA-470D-4D21-74EE-981A8C24A305}"/>
              </a:ext>
            </a:extLst>
          </p:cNvPr>
          <p:cNvGrpSpPr/>
          <p:nvPr/>
        </p:nvGrpSpPr>
        <p:grpSpPr>
          <a:xfrm>
            <a:off x="2528502" y="1008577"/>
            <a:ext cx="2901224" cy="919114"/>
            <a:chOff x="2718280" y="1406337"/>
            <a:chExt cx="2901224" cy="919114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7DC070FF-C876-5D09-5A32-861643CD7AAB}"/>
                </a:ext>
              </a:extLst>
            </p:cNvPr>
            <p:cNvSpPr txBox="1"/>
            <p:nvPr/>
          </p:nvSpPr>
          <p:spPr>
            <a:xfrm>
              <a:off x="2901160" y="1586787"/>
              <a:ext cx="2718344" cy="73866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uk-UA" dirty="0">
                  <a:latin typeface="Fira Sans" panose="020B0503050000020004" pitchFamily="34" charset="0"/>
                </a:rPr>
                <a:t>Натисніть </a:t>
              </a:r>
              <a:r>
                <a:rPr lang="uk-UA" b="1" dirty="0">
                  <a:latin typeface="Fira Sans" panose="020B0503050000020004" pitchFamily="34" charset="0"/>
                </a:rPr>
                <a:t>Переглянути платіжні відомості</a:t>
              </a:r>
              <a:endParaRPr lang="en-US" b="1" dirty="0">
                <a:latin typeface="Fira Sans" panose="020B0503050000020004" pitchFamily="34" charset="0"/>
              </a:endParaRPr>
            </a:p>
          </p:txBody>
        </p:sp>
        <p:sp>
          <p:nvSpPr>
            <p:cNvPr id="31" name="Flowchart: Connector 30">
              <a:extLst>
                <a:ext uri="{FF2B5EF4-FFF2-40B4-BE49-F238E27FC236}">
                  <a16:creationId xmlns:a16="http://schemas.microsoft.com/office/drawing/2014/main" id="{86642ED2-4D8D-17FE-4605-E722ACB18617}"/>
                </a:ext>
              </a:extLst>
            </p:cNvPr>
            <p:cNvSpPr/>
            <p:nvPr/>
          </p:nvSpPr>
          <p:spPr bwMode="auto">
            <a:xfrm>
              <a:off x="2718280" y="1406337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1</a:t>
              </a:r>
              <a:endParaRPr kumimoji="0" lang="en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F7668F85-3693-9E78-D8EE-EBB801CC4D1E}"/>
              </a:ext>
            </a:extLst>
          </p:cNvPr>
          <p:cNvSpPr/>
          <p:nvPr/>
        </p:nvSpPr>
        <p:spPr bwMode="auto">
          <a:xfrm>
            <a:off x="1983252" y="1842035"/>
            <a:ext cx="495014" cy="169645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C736700-D7E1-671A-F9F0-565390964905}"/>
              </a:ext>
            </a:extLst>
          </p:cNvPr>
          <p:cNvSpPr/>
          <p:nvPr/>
        </p:nvSpPr>
        <p:spPr bwMode="auto">
          <a:xfrm>
            <a:off x="1844404" y="4231831"/>
            <a:ext cx="421311" cy="12738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3FC229B3-2D5A-F253-E507-04CB60003760}"/>
              </a:ext>
            </a:extLst>
          </p:cNvPr>
          <p:cNvGrpSpPr/>
          <p:nvPr/>
        </p:nvGrpSpPr>
        <p:grpSpPr>
          <a:xfrm>
            <a:off x="1046618" y="7112122"/>
            <a:ext cx="2550248" cy="1076421"/>
            <a:chOff x="1495464" y="8008946"/>
            <a:chExt cx="2550248" cy="1076421"/>
          </a:xfrm>
        </p:grpSpPr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ED84CF3C-3AB5-6936-57D1-C4FE10BB4EAD}"/>
                </a:ext>
              </a:extLst>
            </p:cNvPr>
            <p:cNvSpPr txBox="1"/>
            <p:nvPr/>
          </p:nvSpPr>
          <p:spPr>
            <a:xfrm>
              <a:off x="1495464" y="8164564"/>
              <a:ext cx="2367368" cy="92080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ru-RU" dirty="0">
                  <a:latin typeface="Fira Sans" panose="020B0503050000020004" pitchFamily="34" charset="0"/>
                </a:rPr>
                <a:t> Відобразиться список річних форм W-2, натисніть на потрібну W-2</a:t>
              </a:r>
              <a:endParaRPr lang="en-US" sz="1400" dirty="0">
                <a:latin typeface="Fira Sans" panose="020B0503050000020004" pitchFamily="34" charset="0"/>
              </a:endParaRPr>
            </a:p>
          </p:txBody>
        </p:sp>
        <p:sp>
          <p:nvSpPr>
            <p:cNvPr id="60" name="Flowchart: Connector 59">
              <a:extLst>
                <a:ext uri="{FF2B5EF4-FFF2-40B4-BE49-F238E27FC236}">
                  <a16:creationId xmlns:a16="http://schemas.microsoft.com/office/drawing/2014/main" id="{E73CF332-D8E2-4184-04C7-024914352BF7}"/>
                </a:ext>
              </a:extLst>
            </p:cNvPr>
            <p:cNvSpPr/>
            <p:nvPr/>
          </p:nvSpPr>
          <p:spPr bwMode="auto">
            <a:xfrm>
              <a:off x="3679952" y="8008946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3</a:t>
              </a:r>
              <a:endParaRPr kumimoji="0" lang="en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BD1266A6-0437-42E9-B6E9-C5B99026A777}"/>
              </a:ext>
            </a:extLst>
          </p:cNvPr>
          <p:cNvGrpSpPr/>
          <p:nvPr/>
        </p:nvGrpSpPr>
        <p:grpSpPr>
          <a:xfrm>
            <a:off x="4252529" y="2588515"/>
            <a:ext cx="2488636" cy="924909"/>
            <a:chOff x="4022119" y="2487117"/>
            <a:chExt cx="2391065" cy="924909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F35556CB-A82A-A123-433A-E45667EEBDB3}"/>
                </a:ext>
              </a:extLst>
            </p:cNvPr>
            <p:cNvSpPr txBox="1"/>
            <p:nvPr/>
          </p:nvSpPr>
          <p:spPr>
            <a:xfrm>
              <a:off x="4279946" y="2617774"/>
              <a:ext cx="2133238" cy="794252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uk-UA" sz="1400" dirty="0">
                  <a:latin typeface="Fira Sans" panose="020B0503050000020004" pitchFamily="34" charset="0"/>
                </a:rPr>
                <a:t>Натисніть </a:t>
              </a:r>
              <a:r>
                <a:rPr lang="uk-UA" sz="1400" b="1" dirty="0">
                  <a:latin typeface="Fira Sans" panose="020B0503050000020004" pitchFamily="34" charset="0"/>
                </a:rPr>
                <a:t>Податкові документи</a:t>
              </a:r>
              <a:endParaRPr lang="en-US" sz="1400" b="1" dirty="0">
                <a:latin typeface="Fira Sans" panose="020B0503050000020004" pitchFamily="34" charset="0"/>
              </a:endParaRPr>
            </a:p>
          </p:txBody>
        </p:sp>
        <p:sp>
          <p:nvSpPr>
            <p:cNvPr id="35" name="Flowchart: Connector 34">
              <a:extLst>
                <a:ext uri="{FF2B5EF4-FFF2-40B4-BE49-F238E27FC236}">
                  <a16:creationId xmlns:a16="http://schemas.microsoft.com/office/drawing/2014/main" id="{5B4987C5-525E-6DD3-986C-A659FC56ADA7}"/>
                </a:ext>
              </a:extLst>
            </p:cNvPr>
            <p:cNvSpPr/>
            <p:nvPr/>
          </p:nvSpPr>
          <p:spPr bwMode="auto">
            <a:xfrm>
              <a:off x="4022119" y="2487117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2</a:t>
              </a:r>
              <a:endParaRPr kumimoji="0" lang="en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pic>
        <p:nvPicPr>
          <p:cNvPr id="2" name="Graphic 1">
            <a:extLst>
              <a:ext uri="{FF2B5EF4-FFF2-40B4-BE49-F238E27FC236}">
                <a16:creationId xmlns:a16="http://schemas.microsoft.com/office/drawing/2014/main" id="{C8961BE0-3384-07F4-7A09-514EA266B5D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808673" y="8711582"/>
            <a:ext cx="1073746" cy="557636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038D4CC-3735-052F-6462-DE4CDED984A9}"/>
              </a:ext>
            </a:extLst>
          </p:cNvPr>
          <p:cNvSpPr txBox="1"/>
          <p:nvPr/>
        </p:nvSpPr>
        <p:spPr>
          <a:xfrm>
            <a:off x="6375400" y="8961441"/>
            <a:ext cx="1754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5336E3A-0AE3-4E73-86CC-16EB33DA15BF}" type="slidenum">
              <a:rPr kumimoji="0" 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Arial" charset="0"/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16AB616F-F79F-5490-8A7E-5C70209716DD}"/>
              </a:ext>
            </a:extLst>
          </p:cNvPr>
          <p:cNvGrpSpPr/>
          <p:nvPr/>
        </p:nvGrpSpPr>
        <p:grpSpPr>
          <a:xfrm>
            <a:off x="1881527" y="8229293"/>
            <a:ext cx="2756059" cy="1140049"/>
            <a:chOff x="1672212" y="7892818"/>
            <a:chExt cx="2756059" cy="1140049"/>
          </a:xfrm>
        </p:grpSpPr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FA0BA7C0-5F42-0525-8E43-BB14F63CE40F}"/>
                </a:ext>
              </a:extLst>
            </p:cNvPr>
            <p:cNvSpPr txBox="1"/>
            <p:nvPr/>
          </p:nvSpPr>
          <p:spPr>
            <a:xfrm>
              <a:off x="1672212" y="8092678"/>
              <a:ext cx="2584971" cy="940189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ru-RU" sz="1400" dirty="0">
                  <a:latin typeface="Fira Sans"/>
                  <a:cs typeface="Arial"/>
                </a:rPr>
                <a:t>Натисніть на </a:t>
              </a:r>
              <a:r>
                <a:rPr lang="ru-RU" sz="1400" b="1" dirty="0">
                  <a:latin typeface="Fira Sans"/>
                  <a:cs typeface="Arial"/>
                </a:rPr>
                <a:t>значок стрілки</a:t>
              </a:r>
              <a:r>
                <a:rPr lang="ru-RU" sz="1400" dirty="0">
                  <a:latin typeface="Fira Sans"/>
                  <a:cs typeface="Arial"/>
                </a:rPr>
                <a:t>, щоб переглянути, завантажити або роздрукувати W-2</a:t>
              </a:r>
              <a:endParaRPr lang="en-US" sz="1400" dirty="0">
                <a:latin typeface="Fira Sans"/>
                <a:cs typeface="Arial"/>
              </a:endParaRPr>
            </a:p>
          </p:txBody>
        </p:sp>
        <p:sp>
          <p:nvSpPr>
            <p:cNvPr id="52" name="Flowchart: Connector 51">
              <a:extLst>
                <a:ext uri="{FF2B5EF4-FFF2-40B4-BE49-F238E27FC236}">
                  <a16:creationId xmlns:a16="http://schemas.microsoft.com/office/drawing/2014/main" id="{8F04ED4F-47BE-D4FB-E26F-402611E438AA}"/>
                </a:ext>
              </a:extLst>
            </p:cNvPr>
            <p:cNvSpPr/>
            <p:nvPr/>
          </p:nvSpPr>
          <p:spPr bwMode="auto">
            <a:xfrm>
              <a:off x="4062511" y="7892818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4</a:t>
              </a:r>
              <a:endParaRPr kumimoji="0" lang="en-US" sz="11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C364991F-8271-28EB-B187-7A1F045EC54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4980" y="1243473"/>
            <a:ext cx="1845399" cy="3745650"/>
          </a:xfrm>
          <a:prstGeom prst="rect">
            <a:avLst/>
          </a:prstGeom>
        </p:spPr>
      </p:pic>
      <p:sp>
        <p:nvSpPr>
          <p:cNvPr id="13" name="Oval 12">
            <a:extLst>
              <a:ext uri="{FF2B5EF4-FFF2-40B4-BE49-F238E27FC236}">
                <a16:creationId xmlns:a16="http://schemas.microsoft.com/office/drawing/2014/main" id="{EEAC3393-5831-F21A-FD50-AB70C4B2BF31}"/>
              </a:ext>
            </a:extLst>
          </p:cNvPr>
          <p:cNvSpPr/>
          <p:nvPr/>
        </p:nvSpPr>
        <p:spPr bwMode="auto">
          <a:xfrm>
            <a:off x="740792" y="2334159"/>
            <a:ext cx="1098567" cy="230832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4" name="Group 10">
            <a:extLst>
              <a:ext uri="{FF2B5EF4-FFF2-40B4-BE49-F238E27FC236}">
                <a16:creationId xmlns:a16="http://schemas.microsoft.com/office/drawing/2014/main" id="{E2DEEEE8-217A-63E1-70CE-5B2995280118}"/>
              </a:ext>
            </a:extLst>
          </p:cNvPr>
          <p:cNvGrpSpPr/>
          <p:nvPr/>
        </p:nvGrpSpPr>
        <p:grpSpPr>
          <a:xfrm>
            <a:off x="2001764" y="2270113"/>
            <a:ext cx="1845398" cy="3525786"/>
            <a:chOff x="0" y="0"/>
            <a:chExt cx="3201348" cy="6597703"/>
          </a:xfrm>
        </p:grpSpPr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35C0776D-D7E4-62CC-8D09-82ADEA131914}"/>
                </a:ext>
              </a:extLst>
            </p:cNvPr>
            <p:cNvSpPr/>
            <p:nvPr/>
          </p:nvSpPr>
          <p:spPr>
            <a:xfrm>
              <a:off x="0" y="0"/>
              <a:ext cx="3201348" cy="6597703"/>
            </a:xfrm>
            <a:custGeom>
              <a:avLst/>
              <a:gdLst/>
              <a:ahLst/>
              <a:cxnLst/>
              <a:rect l="l" t="t" r="r" b="b"/>
              <a:pathLst>
                <a:path w="3201348" h="6597703">
                  <a:moveTo>
                    <a:pt x="0" y="0"/>
                  </a:moveTo>
                  <a:lnTo>
                    <a:pt x="3201348" y="0"/>
                  </a:lnTo>
                  <a:lnTo>
                    <a:pt x="3201348" y="6597703"/>
                  </a:lnTo>
                  <a:lnTo>
                    <a:pt x="0" y="659770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8"/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10" name="Oval 9">
            <a:extLst>
              <a:ext uri="{FF2B5EF4-FFF2-40B4-BE49-F238E27FC236}">
                <a16:creationId xmlns:a16="http://schemas.microsoft.com/office/drawing/2014/main" id="{C0D1B7EA-6944-6EEC-A658-39ABD3039E69}"/>
              </a:ext>
            </a:extLst>
          </p:cNvPr>
          <p:cNvSpPr/>
          <p:nvPr/>
        </p:nvSpPr>
        <p:spPr bwMode="auto">
          <a:xfrm>
            <a:off x="2042668" y="4401653"/>
            <a:ext cx="1569664" cy="289392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4" name="Group 6">
            <a:extLst>
              <a:ext uri="{FF2B5EF4-FFF2-40B4-BE49-F238E27FC236}">
                <a16:creationId xmlns:a16="http://schemas.microsoft.com/office/drawing/2014/main" id="{1B901A92-F251-BAEF-58BC-5EDC9E7A584E}"/>
              </a:ext>
            </a:extLst>
          </p:cNvPr>
          <p:cNvGrpSpPr/>
          <p:nvPr/>
        </p:nvGrpSpPr>
        <p:grpSpPr>
          <a:xfrm>
            <a:off x="4877748" y="6087777"/>
            <a:ext cx="1776490" cy="3447321"/>
            <a:chOff x="-238026" y="-274835"/>
            <a:chExt cx="3201348" cy="6597703"/>
          </a:xfrm>
        </p:grpSpPr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8942C9C6-0FF2-F898-CA06-4237C1809EA5}"/>
                </a:ext>
              </a:extLst>
            </p:cNvPr>
            <p:cNvSpPr/>
            <p:nvPr/>
          </p:nvSpPr>
          <p:spPr>
            <a:xfrm>
              <a:off x="-238026" y="-274835"/>
              <a:ext cx="3201348" cy="6597703"/>
            </a:xfrm>
            <a:custGeom>
              <a:avLst/>
              <a:gdLst/>
              <a:ahLst/>
              <a:cxnLst/>
              <a:rect l="l" t="t" r="r" b="b"/>
              <a:pathLst>
                <a:path w="3201348" h="6597703">
                  <a:moveTo>
                    <a:pt x="0" y="0"/>
                  </a:moveTo>
                  <a:lnTo>
                    <a:pt x="3201348" y="0"/>
                  </a:lnTo>
                  <a:lnTo>
                    <a:pt x="3201348" y="6597703"/>
                  </a:lnTo>
                  <a:lnTo>
                    <a:pt x="0" y="659770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9"/>
              <a:stretch>
                <a:fillRect/>
              </a:stretch>
            </a:blipFill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7" name="Oval 16">
            <a:extLst>
              <a:ext uri="{FF2B5EF4-FFF2-40B4-BE49-F238E27FC236}">
                <a16:creationId xmlns:a16="http://schemas.microsoft.com/office/drawing/2014/main" id="{D2A49CD4-3E12-AC10-AA3B-5C5441DCA31F}"/>
              </a:ext>
            </a:extLst>
          </p:cNvPr>
          <p:cNvSpPr/>
          <p:nvPr/>
        </p:nvSpPr>
        <p:spPr bwMode="auto">
          <a:xfrm>
            <a:off x="6144657" y="6746925"/>
            <a:ext cx="461486" cy="223398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8" name="Group 8">
            <a:extLst>
              <a:ext uri="{FF2B5EF4-FFF2-40B4-BE49-F238E27FC236}">
                <a16:creationId xmlns:a16="http://schemas.microsoft.com/office/drawing/2014/main" id="{3B9E52B2-A94F-A3B8-3E36-976DE75D6B2E}"/>
              </a:ext>
            </a:extLst>
          </p:cNvPr>
          <p:cNvGrpSpPr/>
          <p:nvPr/>
        </p:nvGrpSpPr>
        <p:grpSpPr>
          <a:xfrm>
            <a:off x="3512312" y="4031202"/>
            <a:ext cx="1731310" cy="3266066"/>
            <a:chOff x="0" y="0"/>
            <a:chExt cx="3201348" cy="6597703"/>
          </a:xfrm>
        </p:grpSpPr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C9E1F6B2-520E-5F7F-BCDE-EB29C80DF7B3}"/>
                </a:ext>
              </a:extLst>
            </p:cNvPr>
            <p:cNvSpPr/>
            <p:nvPr/>
          </p:nvSpPr>
          <p:spPr>
            <a:xfrm>
              <a:off x="0" y="0"/>
              <a:ext cx="3201348" cy="6597703"/>
            </a:xfrm>
            <a:custGeom>
              <a:avLst/>
              <a:gdLst/>
              <a:ahLst/>
              <a:cxnLst/>
              <a:rect l="l" t="t" r="r" b="b"/>
              <a:pathLst>
                <a:path w="3201348" h="6597703">
                  <a:moveTo>
                    <a:pt x="0" y="0"/>
                  </a:moveTo>
                  <a:lnTo>
                    <a:pt x="3201348" y="0"/>
                  </a:lnTo>
                  <a:lnTo>
                    <a:pt x="3201348" y="6597703"/>
                  </a:lnTo>
                  <a:lnTo>
                    <a:pt x="0" y="659770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0"/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01398443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VER" val="{&quot;selection&quot;:0,&quot;v&quot;:0,&quot;handler&quot;:&quot;PresBuilder.PowerPoint.Components.CoverSlide.CoverSlideObject, PresBuilder.PowerPoint.dll&quot;}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39252E2D02" val="H08aWFt3alEkDywMCCIeUWtlWlxETyFXYwMOTEpYVUlQa2QfblR6WUp0VEdpf1RSE09vQW0FF0BTX15WQy9kSX9WbF9TclxHLA==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VER" val="{&quot;selection&quot;:0,&quot;v&quot;:0,&quot;handler&quot;:&quot;PresBuilder.PowerPoint.Components.CoverSlide.CoverSlideObject, PresBuilder.PowerPoint.dll&quot;}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3F2D392A0E08340F21062D" val="H08PFQUiZEluTG5KEGVWQmRpQEhWXmNHbR4bGEZXWk9Pc3NHeVluShNlVktjflZAXV1sQWseGxxGV1VUVHZxRX9WPw==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2F3F2E200A1620" val="H08IGxUmZEluPRYpKRdOX3MzWkpVXHtBagcLQ1JBThZDfXFKeUB7WlN1WEV9ZQ9SXlRtW28DAUVdQU4SQ310RmJac1lTdF1ELA==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39252E2D02" val="H08aWFt3alEkDywMCCIeUWtlWlxETyFXYwMOTEpYVUlQa2QfblR6WUp0VEdpf1RSE09vQW0FF0BTX15WQy9kSX9WbF9TclxHLA==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VER" val="{&quot;selection&quot;:0,&quot;v&quot;:0,&quot;handler&quot;:&quot;PresBuilder.PowerPoint.Components.CoverSlide.CoverSlideObject, PresBuilder.PowerPoint.dll&quot;}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3F2D392A0E08340F21062D" val="H08PFQUiZEluTG5KEGVWQmRpQEhWXmNHbR4bGEZXWk9Pc3NHeVluShNlVktjflZAXV1sQWseGxxGV1VUVHZxRX9WPw==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2F3F2E200A1620" val="H08IGxUmZEluPRYpKRdOX3MzWkpVXHtBagcLQ1JBThZDfXFKeUB7WlN1WEV9ZQ9SXlRtW28DAUVdQU4SQ310RmJac1lTdF1ELA==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8222B35" val="H08YA0N9d19uHi4JByJOSWBrWhMJHXdPexAVVgJPVlhDa2QFblRyREYzTklkckBcRgF3T2wGCVhGGk5AUH5+X24GYFJQdEJBLA==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2C2B3F2F120B31093C" val="H08aWFt3alEkDywMCCIeUWtlWlxGGXdPbAQIWlNYXk1NZSpRdl1wWEpwWl9zMFpKVVltW2oAFVYMT1ZJU2lyDg==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8222B35" val="H08YA0N9d19uHi4JByJOSWBrWhMJHXdPexAVVgJPVlhDa2QFblRyREYzTklkckBcRgF3T2wGCVhGGk5AUH5+X24GYFJQdEJBLA==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2C2B3F2F120B31093C" val="H08aWFt3alEkDywMCCIeUWtlWlxGGXdPbAQIWlNYXk1NZSpRdl1wWEpwWl9zMFpKVVltW2oAFVYMT1ZJU2lyDg==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3F2D392A0E08340F21062D" val="H08PFQUiZEluTG5KEGVWQmRpQEhWXmNHbR4bGEZXWk9Pc3NHeVluShNlVktjflZAXV1sQWseGxxGV1VUVHZxRX9WPw==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282F2E2808083B092F062D36" val="H08aWFt3alEkDywMCCIeUWtlWlxGGXdPbQAVVghPVk9QaX5HYEw1Sl5xVEV/dk5cRgV3T20ARA==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222232E2F081236" val="H08aWFt3alEkDywMCCIeUWtlWlxGGXdPbAMPWlVbWExNZSpRdltzRl1yW0Vla1oHRldjTWAcCUBWXkBYCWV8QH5Ae1hVdhE=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2C2B3F2F120B31093C" val="H08aWFt3alEkDywMCCIeUWtlWlxGGXdPbAQIWlNYXk1NZSpRdl1wWEpwWl9zMFpKVVltW2oAFVYMT1ZJU2lyDg==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VER" val="{&quot;selection&quot;:0,&quot;v&quot;:0,&quot;handler&quot;:&quot;PresBuilder.PowerPoint.Components.CoverSlide.CoverSlideObject, PresBuilder.PowerPoint.dll&quot;}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3F2D392A0E08340F21062D" val="H08PFQUiZEluTG5KEGVWQmRpQEhWXmNHbR4bGEZXWk9Pc3NHeVluShNlVktjflZAXV1sQWseGxxGV1VUVHZxRX9WPw==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2F3F2E200A1620" val="H08IGxUmZEluPRYpKRdOX3MzWkpVXHtBagcLQ1JBThZDfXFKeUB7WlN1WEV9ZQ9SXlRtW28DAUVdQU4SQ310RmJac1lTdF1ELA==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8222B35" val="H08YA0N9d19uHi4JByJOSWBrWhMJHXdPexAVVgJPVlhDa2QFblRyREYzTklkckBcRgF3T2wGCVhGGk5AUH5+X24GYFJQdEJBLA==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2C2B3F2F120B31093C" val="H08aWFt3alEkDywMCCIeUWtlWlxGGXdPbAQIWlNYXk1NZSpRdl1wWEpwWl9zMFpKVVltW2oAFVYMT1ZJU2lyDg==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2F3F2E200A1620" val="H08IGxUmZEluPRYpKRdOX3MzWkpVXHtBagcLQ1JBThZDfXFKeUB7WlN1WEV9ZQ9SXlRtW28DAUVdQU4SQ310RmJac1lTdF1ELA==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8222B35" val="H08YA0N9d19uHi4JByJOSWBrWhMJHXdPexAVVgJPVlhDa2QFblRyREYzTklkckBcRgF3T2wGCVhGGk5AUH5+X24GYFJQdEJBLA==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39252E2D02" val="H08aWFt3alEkDywMCCIeUWtlWlxETyFXYwMOTEpYVUlQa2QfblR6WUp0VEdpf1RSE09vQW0FF0BTX15WQy9kSX9WbF9TclxHLA==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39252E2D02" val="H08aWFt3alEkDywMCCIeUWtlWlxETyFXYwMOTEpYVUlQa2QfblR6WUp0VEdpf1RSE09vQW0FF0BTX15WQy9kSX9WbF9TclxHLA==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3E3938350E123F09" val="H08aWFt3alEkDywMCCIeUWtlWlxETyFXYwALRUpbWkJQa2QfblR6WUp0VEdocVRSE09vQW0EF0JVWFRWQy9kSX5aPw==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39252E2D02" val="H08aWFt3alEkDywMCCIeUWtlWlxETyFXYwMOTEpYVUlQa2QfblR6WUp0VEdpf1RSE09vQW0FF0BTX15WQy9kSX9WbF9TclxHLA==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3E3938350E123F09" val="H08aWFt3alEkDywMCCIeUWtlWlxETyFXYwALRUpbWkJQa2QfblR6WUp0VEdocVRSE09vQW0EF0JVWFRWQy9kSX5aPw==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39252E2D02" val="H08aWFt3alEkDywMCCIeUWtlWlxETyFXYwMOTEpYVUlQa2QfblR6WUp0VEdpf1RSE09vQW0FF0BTX15WQy9kSX9WbF9TclxHLA==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heme/theme1.xml><?xml version="1.0" encoding="utf-8"?>
<a:theme xmlns:a="http://schemas.openxmlformats.org/drawingml/2006/main" name="Intro and Divider">
  <a:themeElements>
    <a:clrScheme name="Help at Home">
      <a:dk1>
        <a:srgbClr val="404041"/>
      </a:dk1>
      <a:lt1>
        <a:srgbClr val="FFFFFF"/>
      </a:lt1>
      <a:dk2>
        <a:srgbClr val="6D1D68"/>
      </a:dk2>
      <a:lt2>
        <a:srgbClr val="F4FBEF"/>
      </a:lt2>
      <a:accent1>
        <a:srgbClr val="C71A8D"/>
      </a:accent1>
      <a:accent2>
        <a:srgbClr val="AFC033"/>
      </a:accent2>
      <a:accent3>
        <a:srgbClr val="96288E"/>
      </a:accent3>
      <a:accent4>
        <a:srgbClr val="00B6B6"/>
      </a:accent4>
      <a:accent5>
        <a:srgbClr val="FBAC2E"/>
      </a:accent5>
      <a:accent6>
        <a:srgbClr val="B9BABD"/>
      </a:accent6>
      <a:hlink>
        <a:srgbClr val="007AC4"/>
      </a:hlink>
      <a:folHlink>
        <a:srgbClr val="777777"/>
      </a:folHlink>
    </a:clrScheme>
    <a:fontScheme name="Barclays Arial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18288" bIns="18288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18288" bIns="18288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/>
  <a:custClrLst>
    <a:custClr name="Stable Black (Dark 1)">
      <a:srgbClr val="000000"/>
    </a:custClr>
    <a:custClr name="Stable White (Light 1)">
      <a:srgbClr val="FFFFFF"/>
    </a:custClr>
    <a:custClr name="Stable Dark Blue (Dark 2)">
      <a:srgbClr val="00395C"/>
    </a:custClr>
    <a:custClr name="Stable White (Light 2)">
      <a:srgbClr val="FFFFFF"/>
    </a:custClr>
    <a:custClr name="Title Bar Fill (Teal)">
      <a:srgbClr val="006991"/>
    </a:custClr>
    <a:custClr name="Stable Barclays Cyan">
      <a:srgbClr val="00AEEF"/>
    </a:custClr>
    <a:custClr name="Stable Map Fill 1">
      <a:srgbClr val="FFF2CF"/>
    </a:custClr>
    <a:custClr name="Stable Map Fill 2">
      <a:srgbClr val="DDDEDE"/>
    </a:custClr>
    <a:custClr name="Stable Map Border">
      <a:srgbClr val="ACACAD"/>
    </a:custClr>
    <a:custClr name=" ">
      <a:srgbClr val="FFFFFF"/>
    </a:custClr>
    <a:custClr name="Barclays Cyan">
      <a:srgbClr val="00AEEF"/>
    </a:custClr>
    <a:custClr name="Yellow">
      <a:srgbClr val="FEBE10"/>
    </a:custClr>
    <a:custClr name="Teal">
      <a:srgbClr val="006991"/>
    </a:custClr>
    <a:custClr name="Lime Green">
      <a:srgbClr val="99B221"/>
    </a:custClr>
    <a:custClr name="Dark Gray">
      <a:srgbClr val="58595B"/>
    </a:custClr>
    <a:custClr name="Barclays 50%">
      <a:srgbClr val="80CDED"/>
    </a:custClr>
    <a:custClr name="Orange">
      <a:srgbClr val="E5801D"/>
    </a:custClr>
    <a:custClr name="Royal Blue">
      <a:srgbClr val="3250AA"/>
    </a:custClr>
    <a:custClr name="Green">
      <a:srgbClr val="519136"/>
    </a:custClr>
    <a:custClr name="Red">
      <a:srgbClr val="9D063B"/>
    </a:custClr>
    <a:custClr name="Barclays Cyan 70%">
      <a:srgbClr val="4DC6F4"/>
    </a:custClr>
    <a:custClr name="Yellow 50%">
      <a:srgbClr val="FEDF87"/>
    </a:custClr>
    <a:custClr name="Teal 50%">
      <a:srgbClr val="80B4C8"/>
    </a:custClr>
    <a:custClr name="Lime Green 50%">
      <a:srgbClr val="CCD890"/>
    </a:custClr>
    <a:custClr name="Dark Gray 50%">
      <a:srgbClr val="ACACAD"/>
    </a:custClr>
    <a:custClr name="Barclays 25%">
      <a:srgbClr val="C0E6F6"/>
    </a:custClr>
    <a:custClr name="Orange 50%">
      <a:srgbClr val="F2C08E"/>
    </a:custClr>
    <a:custClr name="Royal Blue 50%">
      <a:srgbClr val="99A8D4"/>
    </a:custClr>
    <a:custClr name="Green 50%">
      <a:srgbClr val="A8C89A"/>
    </a:custClr>
    <a:custClr name="Red 50%">
      <a:srgbClr val="CE829D"/>
    </a:custClr>
  </a:custClrLst>
  <a:extLst>
    <a:ext uri="{05A4C25C-085E-4340-85A3-A5531E510DB2}">
      <thm15:themeFamily xmlns:thm15="http://schemas.microsoft.com/office/thememl/2012/main" name="Barclays Global.potx" id="{4733EFD2-FE1B-4B49-8A63-73BBD0B771F2}" vid="{41A93032-647F-4985-A6CF-E1053DA4C7EE}"/>
    </a:ext>
  </a:extLst>
</a:theme>
</file>

<file path=ppt/theme/theme2.xml><?xml version="1.0" encoding="utf-8"?>
<a:theme xmlns:a="http://schemas.openxmlformats.org/drawingml/2006/main" name="Content">
  <a:themeElements>
    <a:clrScheme name="Help at Home">
      <a:dk1>
        <a:srgbClr val="404041"/>
      </a:dk1>
      <a:lt1>
        <a:srgbClr val="FFFFFF"/>
      </a:lt1>
      <a:dk2>
        <a:srgbClr val="6D1D68"/>
      </a:dk2>
      <a:lt2>
        <a:srgbClr val="F4FBEF"/>
      </a:lt2>
      <a:accent1>
        <a:srgbClr val="C71A8D"/>
      </a:accent1>
      <a:accent2>
        <a:srgbClr val="AFC033"/>
      </a:accent2>
      <a:accent3>
        <a:srgbClr val="96288E"/>
      </a:accent3>
      <a:accent4>
        <a:srgbClr val="00B6B6"/>
      </a:accent4>
      <a:accent5>
        <a:srgbClr val="FBAC2E"/>
      </a:accent5>
      <a:accent6>
        <a:srgbClr val="B9BABD"/>
      </a:accent6>
      <a:hlink>
        <a:srgbClr val="007AC4"/>
      </a:hlink>
      <a:folHlink>
        <a:srgbClr val="777777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18288" bIns="18288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18288" bIns="18288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/>
  <a:custClrLst>
    <a:custClr name="Stable Black (Dark 1)">
      <a:srgbClr val="000000"/>
    </a:custClr>
    <a:custClr name="Stable White (Light 1)">
      <a:srgbClr val="FFFFFF"/>
    </a:custClr>
    <a:custClr name="Stable Dark Blue (Dark 2)">
      <a:srgbClr val="00395C"/>
    </a:custClr>
    <a:custClr name="Stable White (Light 2)">
      <a:srgbClr val="FFFFFF"/>
    </a:custClr>
    <a:custClr name="Title Bar Fill (Teal)">
      <a:srgbClr val="006991"/>
    </a:custClr>
    <a:custClr name="Stable Barclays Cyan">
      <a:srgbClr val="00AEEF"/>
    </a:custClr>
    <a:custClr name="Stable Map Fill 1">
      <a:srgbClr val="FFF2CF"/>
    </a:custClr>
    <a:custClr name="Stable Map Fill 2">
      <a:srgbClr val="DDDEDE"/>
    </a:custClr>
    <a:custClr name="Stable Map Border">
      <a:srgbClr val="ACACAD"/>
    </a:custClr>
    <a:custClr name=" ">
      <a:srgbClr val="FFFFFF"/>
    </a:custClr>
    <a:custClr name="Barclays Cyan">
      <a:srgbClr val="00AEEF"/>
    </a:custClr>
    <a:custClr name="Yellow">
      <a:srgbClr val="FEBE10"/>
    </a:custClr>
    <a:custClr name="Teal">
      <a:srgbClr val="006991"/>
    </a:custClr>
    <a:custClr name="Lime Green">
      <a:srgbClr val="99B221"/>
    </a:custClr>
    <a:custClr name="Dark Gray">
      <a:srgbClr val="58595B"/>
    </a:custClr>
    <a:custClr name="Barclays 50%">
      <a:srgbClr val="80CDED"/>
    </a:custClr>
    <a:custClr name="Orange">
      <a:srgbClr val="E5801D"/>
    </a:custClr>
    <a:custClr name="Royal Blue">
      <a:srgbClr val="3250AA"/>
    </a:custClr>
    <a:custClr name="Green">
      <a:srgbClr val="519136"/>
    </a:custClr>
    <a:custClr name="Red">
      <a:srgbClr val="9D063B"/>
    </a:custClr>
    <a:custClr name="Barclays Cyan 70%">
      <a:srgbClr val="4DC6F4"/>
    </a:custClr>
    <a:custClr name="Yellow 50%">
      <a:srgbClr val="FEDF87"/>
    </a:custClr>
    <a:custClr name="Teal 50%">
      <a:srgbClr val="80B4C8"/>
    </a:custClr>
    <a:custClr name="Lime Green 50%">
      <a:srgbClr val="CCD890"/>
    </a:custClr>
    <a:custClr name="Dark Gray 50%">
      <a:srgbClr val="ACACAD"/>
    </a:custClr>
    <a:custClr name="Barclays 25%">
      <a:srgbClr val="C0E6F6"/>
    </a:custClr>
    <a:custClr name="Orange 50%">
      <a:srgbClr val="F2C08E"/>
    </a:custClr>
    <a:custClr name="Royal Blue 50%">
      <a:srgbClr val="99A8D4"/>
    </a:custClr>
    <a:custClr name="Green 50%">
      <a:srgbClr val="A8C89A"/>
    </a:custClr>
    <a:custClr name="Red 50%">
      <a:srgbClr val="CE829D"/>
    </a:custClr>
  </a:custClrLst>
  <a:extLst>
    <a:ext uri="{05A4C25C-085E-4340-85A3-A5531E510DB2}">
      <thm15:themeFamily xmlns:thm15="http://schemas.microsoft.com/office/thememl/2012/main" name="Barclays Global.potx" id="{4733EFD2-FE1B-4B49-8A63-73BBD0B771F2}" vid="{41A93032-647F-4985-A6CF-E1053DA4C7EE}"/>
    </a:ext>
  </a:extLst>
</a:theme>
</file>

<file path=ppt/theme/theme3.xml><?xml version="1.0" encoding="utf-8"?>
<a:theme xmlns:a="http://schemas.openxmlformats.org/drawingml/2006/main" name="2_Office Theme">
  <a:themeElements>
    <a:clrScheme name="HaH Color Scheme">
      <a:dk1>
        <a:srgbClr val="404041"/>
      </a:dk1>
      <a:lt1>
        <a:srgbClr val="FFFFFF"/>
      </a:lt1>
      <a:dk2>
        <a:srgbClr val="6D1D68"/>
      </a:dk2>
      <a:lt2>
        <a:srgbClr val="F3FBEF"/>
      </a:lt2>
      <a:accent1>
        <a:srgbClr val="96288E"/>
      </a:accent1>
      <a:accent2>
        <a:srgbClr val="C71A8D"/>
      </a:accent2>
      <a:accent3>
        <a:srgbClr val="AFC033"/>
      </a:accent3>
      <a:accent4>
        <a:srgbClr val="00B6B6"/>
      </a:accent4>
      <a:accent5>
        <a:srgbClr val="FBAC2E"/>
      </a:accent5>
      <a:accent6>
        <a:srgbClr val="B9BABD"/>
      </a:accent6>
      <a:hlink>
        <a:srgbClr val="C71A8D"/>
      </a:hlink>
      <a:folHlink>
        <a:srgbClr val="AFC033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Content">
  <a:themeElements>
    <a:clrScheme name="Help at Home">
      <a:dk1>
        <a:srgbClr val="404041"/>
      </a:dk1>
      <a:lt1>
        <a:srgbClr val="FFFFFF"/>
      </a:lt1>
      <a:dk2>
        <a:srgbClr val="6D1D68"/>
      </a:dk2>
      <a:lt2>
        <a:srgbClr val="F4FBEF"/>
      </a:lt2>
      <a:accent1>
        <a:srgbClr val="C71A8D"/>
      </a:accent1>
      <a:accent2>
        <a:srgbClr val="AFC033"/>
      </a:accent2>
      <a:accent3>
        <a:srgbClr val="96288E"/>
      </a:accent3>
      <a:accent4>
        <a:srgbClr val="00B6B6"/>
      </a:accent4>
      <a:accent5>
        <a:srgbClr val="FBAC2E"/>
      </a:accent5>
      <a:accent6>
        <a:srgbClr val="B9BABD"/>
      </a:accent6>
      <a:hlink>
        <a:srgbClr val="007AC4"/>
      </a:hlink>
      <a:folHlink>
        <a:srgbClr val="777777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18288" bIns="18288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18288" bIns="18288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/>
  <a:custClrLst>
    <a:custClr name="Stable Black (Dark 1)">
      <a:srgbClr val="000000"/>
    </a:custClr>
    <a:custClr name="Stable White (Light 1)">
      <a:srgbClr val="FFFFFF"/>
    </a:custClr>
    <a:custClr name="Stable Dark Blue (Dark 2)">
      <a:srgbClr val="00395C"/>
    </a:custClr>
    <a:custClr name="Stable White (Light 2)">
      <a:srgbClr val="FFFFFF"/>
    </a:custClr>
    <a:custClr name="Title Bar Fill (Teal)">
      <a:srgbClr val="006991"/>
    </a:custClr>
    <a:custClr name="Stable Barclays Cyan">
      <a:srgbClr val="00AEEF"/>
    </a:custClr>
    <a:custClr name="Stable Map Fill 1">
      <a:srgbClr val="FFF2CF"/>
    </a:custClr>
    <a:custClr name="Stable Map Fill 2">
      <a:srgbClr val="DDDEDE"/>
    </a:custClr>
    <a:custClr name="Stable Map Border">
      <a:srgbClr val="ACACAD"/>
    </a:custClr>
    <a:custClr name=" ">
      <a:srgbClr val="FFFFFF"/>
    </a:custClr>
    <a:custClr name="Barclays Cyan">
      <a:srgbClr val="00AEEF"/>
    </a:custClr>
    <a:custClr name="Yellow">
      <a:srgbClr val="FEBE10"/>
    </a:custClr>
    <a:custClr name="Teal">
      <a:srgbClr val="006991"/>
    </a:custClr>
    <a:custClr name="Lime Green">
      <a:srgbClr val="99B221"/>
    </a:custClr>
    <a:custClr name="Dark Gray">
      <a:srgbClr val="58595B"/>
    </a:custClr>
    <a:custClr name="Barclays 50%">
      <a:srgbClr val="80CDED"/>
    </a:custClr>
    <a:custClr name="Orange">
      <a:srgbClr val="E5801D"/>
    </a:custClr>
    <a:custClr name="Royal Blue">
      <a:srgbClr val="3250AA"/>
    </a:custClr>
    <a:custClr name="Green">
      <a:srgbClr val="519136"/>
    </a:custClr>
    <a:custClr name="Red">
      <a:srgbClr val="9D063B"/>
    </a:custClr>
    <a:custClr name="Barclays Cyan 70%">
      <a:srgbClr val="4DC6F4"/>
    </a:custClr>
    <a:custClr name="Yellow 50%">
      <a:srgbClr val="FEDF87"/>
    </a:custClr>
    <a:custClr name="Teal 50%">
      <a:srgbClr val="80B4C8"/>
    </a:custClr>
    <a:custClr name="Lime Green 50%">
      <a:srgbClr val="CCD890"/>
    </a:custClr>
    <a:custClr name="Dark Gray 50%">
      <a:srgbClr val="ACACAD"/>
    </a:custClr>
    <a:custClr name="Barclays 25%">
      <a:srgbClr val="C0E6F6"/>
    </a:custClr>
    <a:custClr name="Orange 50%">
      <a:srgbClr val="F2C08E"/>
    </a:custClr>
    <a:custClr name="Royal Blue 50%">
      <a:srgbClr val="99A8D4"/>
    </a:custClr>
    <a:custClr name="Green 50%">
      <a:srgbClr val="A8C89A"/>
    </a:custClr>
    <a:custClr name="Red 50%">
      <a:srgbClr val="CE829D"/>
    </a:custClr>
  </a:custClrLst>
  <a:extLst>
    <a:ext uri="{05A4C25C-085E-4340-85A3-A5531E510DB2}">
      <thm15:themeFamily xmlns:thm15="http://schemas.microsoft.com/office/thememl/2012/main" name="Barclays Global.potx" id="{4733EFD2-FE1B-4B49-8A63-73BBD0B771F2}" vid="{41A93032-647F-4985-A6CF-E1053DA4C7EE}"/>
    </a:ext>
  </a:extLst>
</a:theme>
</file>

<file path=ppt/theme/theme5.xml><?xml version="1.0" encoding="utf-8"?>
<a:theme xmlns:a="http://schemas.openxmlformats.org/drawingml/2006/main" name="2_Content">
  <a:themeElements>
    <a:clrScheme name="Help at Home">
      <a:dk1>
        <a:srgbClr val="404041"/>
      </a:dk1>
      <a:lt1>
        <a:srgbClr val="FFFFFF"/>
      </a:lt1>
      <a:dk2>
        <a:srgbClr val="6D1D68"/>
      </a:dk2>
      <a:lt2>
        <a:srgbClr val="F4FBEF"/>
      </a:lt2>
      <a:accent1>
        <a:srgbClr val="C71A8D"/>
      </a:accent1>
      <a:accent2>
        <a:srgbClr val="AFC033"/>
      </a:accent2>
      <a:accent3>
        <a:srgbClr val="96288E"/>
      </a:accent3>
      <a:accent4>
        <a:srgbClr val="00B6B6"/>
      </a:accent4>
      <a:accent5>
        <a:srgbClr val="FBAC2E"/>
      </a:accent5>
      <a:accent6>
        <a:srgbClr val="B9BABD"/>
      </a:accent6>
      <a:hlink>
        <a:srgbClr val="007AC4"/>
      </a:hlink>
      <a:folHlink>
        <a:srgbClr val="777777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18288" bIns="18288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18288" bIns="18288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/>
  <a:custClrLst>
    <a:custClr name="Stable Black (Dark 1)">
      <a:srgbClr val="000000"/>
    </a:custClr>
    <a:custClr name="Stable White (Light 1)">
      <a:srgbClr val="FFFFFF"/>
    </a:custClr>
    <a:custClr name="Stable Dark Blue (Dark 2)">
      <a:srgbClr val="00395C"/>
    </a:custClr>
    <a:custClr name="Stable White (Light 2)">
      <a:srgbClr val="FFFFFF"/>
    </a:custClr>
    <a:custClr name="Title Bar Fill (Teal)">
      <a:srgbClr val="006991"/>
    </a:custClr>
    <a:custClr name="Stable Barclays Cyan">
      <a:srgbClr val="00AEEF"/>
    </a:custClr>
    <a:custClr name="Stable Map Fill 1">
      <a:srgbClr val="FFF2CF"/>
    </a:custClr>
    <a:custClr name="Stable Map Fill 2">
      <a:srgbClr val="DDDEDE"/>
    </a:custClr>
    <a:custClr name="Stable Map Border">
      <a:srgbClr val="ACACAD"/>
    </a:custClr>
    <a:custClr name=" ">
      <a:srgbClr val="FFFFFF"/>
    </a:custClr>
    <a:custClr name="Barclays Cyan">
      <a:srgbClr val="00AEEF"/>
    </a:custClr>
    <a:custClr name="Yellow">
      <a:srgbClr val="FEBE10"/>
    </a:custClr>
    <a:custClr name="Teal">
      <a:srgbClr val="006991"/>
    </a:custClr>
    <a:custClr name="Lime Green">
      <a:srgbClr val="99B221"/>
    </a:custClr>
    <a:custClr name="Dark Gray">
      <a:srgbClr val="58595B"/>
    </a:custClr>
    <a:custClr name="Barclays 50%">
      <a:srgbClr val="80CDED"/>
    </a:custClr>
    <a:custClr name="Orange">
      <a:srgbClr val="E5801D"/>
    </a:custClr>
    <a:custClr name="Royal Blue">
      <a:srgbClr val="3250AA"/>
    </a:custClr>
    <a:custClr name="Green">
      <a:srgbClr val="519136"/>
    </a:custClr>
    <a:custClr name="Red">
      <a:srgbClr val="9D063B"/>
    </a:custClr>
    <a:custClr name="Barclays Cyan 70%">
      <a:srgbClr val="4DC6F4"/>
    </a:custClr>
    <a:custClr name="Yellow 50%">
      <a:srgbClr val="FEDF87"/>
    </a:custClr>
    <a:custClr name="Teal 50%">
      <a:srgbClr val="80B4C8"/>
    </a:custClr>
    <a:custClr name="Lime Green 50%">
      <a:srgbClr val="CCD890"/>
    </a:custClr>
    <a:custClr name="Dark Gray 50%">
      <a:srgbClr val="ACACAD"/>
    </a:custClr>
    <a:custClr name="Barclays 25%">
      <a:srgbClr val="C0E6F6"/>
    </a:custClr>
    <a:custClr name="Orange 50%">
      <a:srgbClr val="F2C08E"/>
    </a:custClr>
    <a:custClr name="Royal Blue 50%">
      <a:srgbClr val="99A8D4"/>
    </a:custClr>
    <a:custClr name="Green 50%">
      <a:srgbClr val="A8C89A"/>
    </a:custClr>
    <a:custClr name="Red 50%">
      <a:srgbClr val="CE829D"/>
    </a:custClr>
  </a:custClrLst>
  <a:extLst>
    <a:ext uri="{05A4C25C-085E-4340-85A3-A5531E510DB2}">
      <thm15:themeFamily xmlns:thm15="http://schemas.microsoft.com/office/thememl/2012/main" name="Barclays Global.potx" id="{4733EFD2-FE1B-4B49-8A63-73BBD0B771F2}" vid="{41A93032-647F-4985-A6CF-E1053DA4C7EE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88e8755-9e22-413d-a5dc-e6fa913b3719" xsi:nil="true"/>
    <lcf76f155ced4ddcb4097134ff3c332f xmlns="3a94150c-44f1-4a02-9cef-28394f366a23">
      <Terms xmlns="http://schemas.microsoft.com/office/infopath/2007/PartnerControls"/>
    </lcf76f155ced4ddcb4097134ff3c332f>
    <SharedWithUsers xmlns="a88e8755-9e22-413d-a5dc-e6fa913b3719">
      <UserInfo>
        <DisplayName>Megan Lueders</DisplayName>
        <AccountId>106</AccountId>
        <AccountType/>
      </UserInfo>
      <UserInfo>
        <DisplayName>Bill Jamison</DisplayName>
        <AccountId>118</AccountId>
        <AccountType/>
      </UserInfo>
      <UserInfo>
        <DisplayName>Andy Brinckerhoff</DisplayName>
        <AccountId>155</AccountId>
        <AccountType/>
      </UserInfo>
      <UserInfo>
        <DisplayName>WENDY CARBERG</DisplayName>
        <AccountId>17</AccountId>
        <AccountType/>
      </UserInfo>
      <UserInfo>
        <DisplayName>Jennifer Lemkuil</DisplayName>
        <AccountId>105</AccountId>
        <AccountType/>
      </UserInfo>
      <UserInfo>
        <DisplayName>LAUREN FRANK</DisplayName>
        <AccountId>163</AccountId>
        <AccountType/>
      </UserInfo>
      <UserInfo>
        <DisplayName>DYLAN ORBAUGH</DisplayName>
        <AccountId>164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DB0AB781811F74799C4C570FDAAB7DC" ma:contentTypeVersion="14" ma:contentTypeDescription="Create a new document." ma:contentTypeScope="" ma:versionID="83941a8bd6a306753dc6fbbd4d291557">
  <xsd:schema xmlns:xsd="http://www.w3.org/2001/XMLSchema" xmlns:xs="http://www.w3.org/2001/XMLSchema" xmlns:p="http://schemas.microsoft.com/office/2006/metadata/properties" xmlns:ns2="3a94150c-44f1-4a02-9cef-28394f366a23" xmlns:ns3="a88e8755-9e22-413d-a5dc-e6fa913b3719" targetNamespace="http://schemas.microsoft.com/office/2006/metadata/properties" ma:root="true" ma:fieldsID="a1250a7d572388ce589aaca0cbfe26c6" ns2:_="" ns3:_="">
    <xsd:import namespace="3a94150c-44f1-4a02-9cef-28394f366a23"/>
    <xsd:import namespace="a88e8755-9e22-413d-a5dc-e6fa913b371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a94150c-44f1-4a02-9cef-28394f366a2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d6f9e8b5-8263-4a2d-a9e3-8750687bb33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8e8755-9e22-413d-a5dc-e6fa913b3719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8" nillable="true" ma:displayName="Taxonomy Catch All Column" ma:hidden="true" ma:list="{8edd73f9-90e7-46d8-980c-e14249cc9d68}" ma:internalName="TaxCatchAll" ma:showField="CatchAllData" ma:web="a88e8755-9e22-413d-a5dc-e6fa913b371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F789E47-B987-4005-9C2F-6B7992AB2F5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129E399-2945-4EB2-ADD8-4BA545FD14D9}">
  <ds:schemaRefs>
    <ds:schemaRef ds:uri="http://purl.org/dc/elements/1.1/"/>
    <ds:schemaRef ds:uri="http://www.w3.org/XML/1998/namespace"/>
    <ds:schemaRef ds:uri="a88e8755-9e22-413d-a5dc-e6fa913b3719"/>
    <ds:schemaRef ds:uri="http://schemas.openxmlformats.org/package/2006/metadata/core-properties"/>
    <ds:schemaRef ds:uri="http://schemas.microsoft.com/office/2006/metadata/properties"/>
    <ds:schemaRef ds:uri="http://purl.org/dc/dcmitype/"/>
    <ds:schemaRef ds:uri="http://purl.org/dc/terms/"/>
    <ds:schemaRef ds:uri="http://schemas.microsoft.com/office/2006/documentManagement/types"/>
    <ds:schemaRef ds:uri="http://schemas.microsoft.com/office/infopath/2007/PartnerControls"/>
    <ds:schemaRef ds:uri="3a94150c-44f1-4a02-9cef-28394f366a23"/>
  </ds:schemaRefs>
</ds:datastoreItem>
</file>

<file path=customXml/itemProps3.xml><?xml version="1.0" encoding="utf-8"?>
<ds:datastoreItem xmlns:ds="http://schemas.openxmlformats.org/officeDocument/2006/customXml" ds:itemID="{E9D4741C-9E60-4FF6-9F73-19C3B93E5DA2}">
  <ds:schemaRefs>
    <ds:schemaRef ds:uri="3a94150c-44f1-4a02-9cef-28394f366a23"/>
    <ds:schemaRef ds:uri="a88e8755-9e22-413d-a5dc-e6fa913b371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MPLATE 12 13 21 HAH-4709_PPT_Master_V7 shortversionfinal10.22</Template>
  <TotalTime>3589</TotalTime>
  <Words>867</Words>
  <Application>Microsoft Office PowerPoint</Application>
  <PresentationFormat>Custom</PresentationFormat>
  <Paragraphs>166</Paragraphs>
  <Slides>15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9" baseType="lpstr">
      <vt:lpstr>Arial</vt:lpstr>
      <vt:lpstr>Calibri</vt:lpstr>
      <vt:lpstr>Calibri Light</vt:lpstr>
      <vt:lpstr>Fira Sans</vt:lpstr>
      <vt:lpstr>Fira Sans Bold</vt:lpstr>
      <vt:lpstr>Wingdings</vt:lpstr>
      <vt:lpstr>Wingdings 2</vt:lpstr>
      <vt:lpstr>Wingdings 3</vt:lpstr>
      <vt:lpstr>Intro and Divider</vt:lpstr>
      <vt:lpstr>Content</vt:lpstr>
      <vt:lpstr>2_Office Theme</vt:lpstr>
      <vt:lpstr>1_Content</vt:lpstr>
      <vt:lpstr>2_Content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creator>Jake Ruetz</dc:creator>
  <cp:lastModifiedBy>TYLER QUILLIN</cp:lastModifiedBy>
  <cp:revision>3</cp:revision>
  <dcterms:created xsi:type="dcterms:W3CDTF">2022-02-15T13:04:28Z</dcterms:created>
  <dcterms:modified xsi:type="dcterms:W3CDTF">2025-05-01T15:57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DB0AB781811F74799C4C570FDAAB7DC</vt:lpwstr>
  </property>
  <property fmtid="{D5CDD505-2E9C-101B-9397-08002B2CF9AE}" pid="3" name="MSIP_Label_6d5d322d-32bf-4bf5-b158-5f4f2387fdee_Enabled">
    <vt:lpwstr>true</vt:lpwstr>
  </property>
  <property fmtid="{D5CDD505-2E9C-101B-9397-08002B2CF9AE}" pid="4" name="MSIP_Label_6d5d322d-32bf-4bf5-b158-5f4f2387fdee_SetDate">
    <vt:lpwstr>2022-08-18T00:30:26Z</vt:lpwstr>
  </property>
  <property fmtid="{D5CDD505-2E9C-101B-9397-08002B2CF9AE}" pid="5" name="MSIP_Label_6d5d322d-32bf-4bf5-b158-5f4f2387fdee_Method">
    <vt:lpwstr>Standard</vt:lpwstr>
  </property>
  <property fmtid="{D5CDD505-2E9C-101B-9397-08002B2CF9AE}" pid="6" name="MSIP_Label_6d5d322d-32bf-4bf5-b158-5f4f2387fdee_Name">
    <vt:lpwstr>defa4170-0d19-0005-0004-bc88714345d2</vt:lpwstr>
  </property>
  <property fmtid="{D5CDD505-2E9C-101B-9397-08002B2CF9AE}" pid="7" name="MSIP_Label_6d5d322d-32bf-4bf5-b158-5f4f2387fdee_SiteId">
    <vt:lpwstr>2d9be6dc-3da9-4996-9537-6be529fe28d6</vt:lpwstr>
  </property>
  <property fmtid="{D5CDD505-2E9C-101B-9397-08002B2CF9AE}" pid="8" name="MSIP_Label_6d5d322d-32bf-4bf5-b158-5f4f2387fdee_ActionId">
    <vt:lpwstr>40198325-1ca4-42ed-acdc-c5fa5db42dd1</vt:lpwstr>
  </property>
  <property fmtid="{D5CDD505-2E9C-101B-9397-08002B2CF9AE}" pid="9" name="MSIP_Label_6d5d322d-32bf-4bf5-b158-5f4f2387fdee_ContentBits">
    <vt:lpwstr>0</vt:lpwstr>
  </property>
  <property fmtid="{D5CDD505-2E9C-101B-9397-08002B2CF9AE}" pid="10" name="MediaServiceImageTags">
    <vt:lpwstr/>
  </property>
</Properties>
</file>